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  <p:sldMasterId id="2147483690" r:id="rId6"/>
  </p:sldMasterIdLst>
  <p:notesMasterIdLst>
    <p:notesMasterId r:id="rId10"/>
  </p:notesMasterIdLst>
  <p:handoutMasterIdLst>
    <p:handoutMasterId r:id="rId11"/>
  </p:handoutMasterIdLst>
  <p:sldIdLst>
    <p:sldId id="292" r:id="rId7"/>
    <p:sldId id="290" r:id="rId8"/>
    <p:sldId id="291" r:id="rId9"/>
  </p:sldIdLst>
  <p:sldSz cx="12195175" cy="6862763"/>
  <p:notesSz cx="6858000" cy="9144000"/>
  <p:custDataLst>
    <p:tags r:id="rId12"/>
  </p:custDataLst>
  <p:defaultTextStyle>
    <a:defPPr>
      <a:defRPr lang="en-US"/>
    </a:defPPr>
    <a:lvl1pPr marL="0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44479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88959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633438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77918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722397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877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1356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836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" userDrawn="1">
          <p15:clr>
            <a:srgbClr val="A4A3A4"/>
          </p15:clr>
        </p15:guide>
        <p15:guide id="2" pos="484" userDrawn="1">
          <p15:clr>
            <a:srgbClr val="A4A3A4"/>
          </p15:clr>
        </p15:guide>
        <p15:guide id="3" pos="47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BCB5"/>
    <a:srgbClr val="000066"/>
    <a:srgbClr val="A7A299"/>
    <a:srgbClr val="C8C0B3"/>
    <a:srgbClr val="DDD8CB"/>
    <a:srgbClr val="C81414"/>
    <a:srgbClr val="F5DC00"/>
    <a:srgbClr val="2EBA55"/>
    <a:srgbClr val="0099FF"/>
    <a:srgbClr val="CAA97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095B7D5-0D0F-4998-97F3-951D6F74E50A}" v="18" dt="2021-08-18T10:29:22.04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5" autoAdjust="0"/>
    <p:restoredTop sz="94660"/>
  </p:normalViewPr>
  <p:slideViewPr>
    <p:cSldViewPr>
      <p:cViewPr varScale="1">
        <p:scale>
          <a:sx n="114" d="100"/>
          <a:sy n="114" d="100"/>
        </p:scale>
        <p:origin x="294" y="102"/>
      </p:cViewPr>
      <p:guideLst>
        <p:guide orient="horz" pos="30"/>
        <p:guide pos="484"/>
        <p:guide pos="47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2664"/>
    </p:cViewPr>
  </p:sorterViewPr>
  <p:notesViewPr>
    <p:cSldViewPr showGuides="1">
      <p:cViewPr varScale="1">
        <p:scale>
          <a:sx n="49" d="100"/>
          <a:sy n="49" d="100"/>
        </p:scale>
        <p:origin x="1864" y="5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ags" Target="tags/tag1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5FB986D-40B0-4C80-9B61-2DDC43D9A9C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B59C36F-CD84-408D-A3D7-74E3A89F9CA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22243FD-7A29-4E1E-9AA2-17D449F35228}" type="datetimeFigureOut">
              <a:rPr lang="sv-SE" smtClean="0"/>
              <a:t>2021-08-27</a:t>
            </a:fld>
            <a:endParaRPr lang="sv-S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2B1334-6C89-4AAA-B505-3371E601046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3DF8D32-903B-47C6-A8FF-BA66C4274AC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EAE12E-5AD4-48F8-91D1-1E4E14F89263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0766211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3423A1-34E5-45A4-AAE8-D1847D3D9570}" type="datetimeFigureOut">
              <a:rPr lang="en-US" smtClean="0"/>
              <a:pPr/>
              <a:t>8/27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2588" y="685800"/>
            <a:ext cx="60928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0AD3AE-7117-4CE2-81CD-1E268CD4059E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1088959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44479" algn="l" defTabSz="1088959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88959" algn="l" defTabSz="1088959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633438" algn="l" defTabSz="1088959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177918" algn="l" defTabSz="1088959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722397" algn="l" defTabSz="1088959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66877" algn="l" defTabSz="1088959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811356" algn="l" defTabSz="1088959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355836" algn="l" defTabSz="1088959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541773" y="6332029"/>
            <a:ext cx="6288137" cy="214462"/>
          </a:xfrm>
        </p:spPr>
        <p:txBody>
          <a:bodyPr>
            <a:normAutofit/>
          </a:bodyPr>
          <a:lstStyle>
            <a:lvl1pPr>
              <a:buFontTx/>
              <a:buNone/>
              <a:defRPr sz="14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Autho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1773" y="2343597"/>
            <a:ext cx="8906319" cy="612425"/>
          </a:xfrm>
        </p:spPr>
        <p:txBody>
          <a:bodyPr>
            <a:noAutofit/>
          </a:bodyPr>
          <a:lstStyle>
            <a:lvl1pPr marL="0" indent="0" algn="l">
              <a:buNone/>
              <a:defRPr sz="2100" cap="all" baseline="0">
                <a:solidFill>
                  <a:schemeClr val="accent4"/>
                </a:solidFill>
                <a:latin typeface="Arial Black" pitchFamily="34" charset="0"/>
              </a:defRPr>
            </a:lvl1pPr>
            <a:lvl2pPr marL="5444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9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4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9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23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8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13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41773" y="1381599"/>
            <a:ext cx="8906319" cy="961998"/>
          </a:xfrm>
        </p:spPr>
        <p:txBody>
          <a:bodyPr anchor="b" anchorCtr="0"/>
          <a:lstStyle>
            <a:lvl1pPr>
              <a:defRPr sz="2900" cap="all" baseline="0">
                <a:solidFill>
                  <a:schemeClr val="accent2"/>
                </a:solidFill>
                <a:latin typeface="Arial Black" pitchFamily="34" charset="0"/>
              </a:defRPr>
            </a:lvl1pPr>
          </a:lstStyle>
          <a:p>
            <a:r>
              <a:rPr lang="en-US" dirty="0"/>
              <a:t>SAS 16:9 – Click to ADD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541773" y="2956022"/>
            <a:ext cx="8906319" cy="360250"/>
          </a:xfrm>
        </p:spPr>
        <p:txBody>
          <a:bodyPr/>
          <a:lstStyle>
            <a:lvl1pPr>
              <a:buFontTx/>
              <a:buNone/>
              <a:defRPr b="0" baseline="0">
                <a:latin typeface="Arial Black" pitchFamily="34" charset="0"/>
              </a:defRPr>
            </a:lvl1pPr>
          </a:lstStyle>
          <a:p>
            <a:pPr lvl="0"/>
            <a:r>
              <a:rPr lang="en-US" dirty="0"/>
              <a:t>Date in format DD.MM.YYYY </a:t>
            </a:r>
          </a:p>
        </p:txBody>
      </p:sp>
      <p:pic>
        <p:nvPicPr>
          <p:cNvPr id="8" name="Picture 7" descr="färg SAS_L1_B3_RGB_LOCK2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4000" y="6264000"/>
            <a:ext cx="1981204" cy="35052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ground SAS Gradient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fld id="{F7DC6A67-F745-42FE-82D1-7A561047EC3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Picture 9" descr="liten SA Logo.png">
            <a:extLst>
              <a:ext uri="{FF2B5EF4-FFF2-40B4-BE49-F238E27FC236}">
                <a16:creationId xmlns:a16="http://schemas.microsoft.com/office/drawing/2014/main" id="{CF3AAAC2-4F32-4DFB-A5AF-D5F9114FBF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6621" y="6284235"/>
            <a:ext cx="1944000" cy="292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58816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ground deep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3C54EFD-6786-4957-9709-CBD9DEC3DA75}"/>
              </a:ext>
            </a:extLst>
          </p:cNvPr>
          <p:cNvSpPr/>
          <p:nvPr userDrawn="1"/>
        </p:nvSpPr>
        <p:spPr>
          <a:xfrm>
            <a:off x="9481963" y="5951661"/>
            <a:ext cx="2448272" cy="7920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fld id="{F7DC6A67-F745-42FE-82D1-7A561047EC3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Picture 9" descr="liten SA Logo.png">
            <a:extLst>
              <a:ext uri="{FF2B5EF4-FFF2-40B4-BE49-F238E27FC236}">
                <a16:creationId xmlns:a16="http://schemas.microsoft.com/office/drawing/2014/main" id="{E9EFCAED-77D2-4ED5-8D9E-56B7716CD34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6621" y="6284235"/>
            <a:ext cx="1944000" cy="292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63066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ground SAS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B54E7C7-F8DE-40CF-B23F-918C0BAB93CD}"/>
              </a:ext>
            </a:extLst>
          </p:cNvPr>
          <p:cNvSpPr/>
          <p:nvPr userDrawn="1"/>
        </p:nvSpPr>
        <p:spPr>
          <a:xfrm>
            <a:off x="9481963" y="5951661"/>
            <a:ext cx="2448272" cy="792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fld id="{F7DC6A67-F745-42FE-82D1-7A561047EC3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Picture 9" descr="liten SA Logo.png">
            <a:extLst>
              <a:ext uri="{FF2B5EF4-FFF2-40B4-BE49-F238E27FC236}">
                <a16:creationId xmlns:a16="http://schemas.microsoft.com/office/drawing/2014/main" id="{EC45FBF9-B9AA-49E7-A46D-D5F0285F31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6621" y="6284235"/>
            <a:ext cx="1944000" cy="292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3622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ground SAS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5728E99A-5F0B-4FB4-B5F8-74C8CAD00E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05200" y="2927350"/>
            <a:ext cx="5184775" cy="792163"/>
          </a:xfrm>
        </p:spPr>
        <p:txBody>
          <a:bodyPr>
            <a:normAutofit/>
          </a:bodyPr>
          <a:lstStyle>
            <a:lvl1pPr marL="0" indent="0" algn="ctr">
              <a:buNone/>
              <a:defRPr sz="5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en-US" dirty="0"/>
              <a:t>[THANK YOU]</a:t>
            </a:r>
            <a:endParaRPr lang="sv-SE" dirty="0"/>
          </a:p>
        </p:txBody>
      </p:sp>
      <p:pic>
        <p:nvPicPr>
          <p:cNvPr id="3" name="Picture 9" descr="liten SA Logo.png">
            <a:extLst>
              <a:ext uri="{FF2B5EF4-FFF2-40B4-BE49-F238E27FC236}">
                <a16:creationId xmlns:a16="http://schemas.microsoft.com/office/drawing/2014/main" id="{E8D878B9-3882-4322-A920-784F084EC8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6621" y="6284235"/>
            <a:ext cx="1944000" cy="292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469436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as_free logo.png">
            <a:extLst>
              <a:ext uri="{FF2B5EF4-FFF2-40B4-BE49-F238E27FC236}">
                <a16:creationId xmlns:a16="http://schemas.microsoft.com/office/drawing/2014/main" id="{2CAF6F15-B819-490A-9D3C-29C036BE36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13586" y="2643182"/>
            <a:ext cx="3168000" cy="1160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589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309359" y="-1"/>
            <a:ext cx="5885815" cy="6862763"/>
          </a:xfrm>
          <a:solidFill>
            <a:srgbClr val="A7A299"/>
          </a:solidFill>
        </p:spPr>
        <p:txBody>
          <a:bodyPr anchor="ctr" anchorCtr="0"/>
          <a:lstStyle>
            <a:lvl1pPr algn="ctr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4194" y="2243490"/>
            <a:ext cx="5214158" cy="347549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4"/>
                </a:solidFill>
              </a:defRPr>
            </a:lvl3pPr>
            <a:lvl4pPr>
              <a:defRPr>
                <a:solidFill>
                  <a:schemeClr val="accent4"/>
                </a:solidFill>
              </a:defRPr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5353393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5353393" cy="6124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74DCAE80-AA40-4347-8A07-A0A2EC047EBA}"/>
              </a:ext>
            </a:extLst>
          </p:cNvPr>
          <p:cNvSpPr/>
          <p:nvPr userDrawn="1"/>
        </p:nvSpPr>
        <p:spPr>
          <a:xfrm>
            <a:off x="7177706" y="1067128"/>
            <a:ext cx="4104457" cy="218268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4194" y="2243490"/>
            <a:ext cx="5214158" cy="347549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4"/>
                </a:solidFill>
              </a:defRPr>
            </a:lvl3pPr>
            <a:lvl4pPr>
              <a:defRPr>
                <a:solidFill>
                  <a:schemeClr val="accent4"/>
                </a:solidFill>
              </a:defRPr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5353393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5353393" cy="6124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C7780BCC-1E57-4A2A-968A-CFEEB643EB1A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426684" y="1298697"/>
            <a:ext cx="3565781" cy="1715216"/>
          </a:xfrm>
        </p:spPr>
        <p:txBody>
          <a:bodyPr/>
          <a:lstStyle/>
          <a:p>
            <a:r>
              <a:rPr lang="en-US"/>
              <a:t>Click icon to add chart</a:t>
            </a:r>
            <a:endParaRPr lang="sv-SE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0F28114-2750-4387-9DC3-495A57B67916}"/>
              </a:ext>
            </a:extLst>
          </p:cNvPr>
          <p:cNvSpPr/>
          <p:nvPr userDrawn="1"/>
        </p:nvSpPr>
        <p:spPr>
          <a:xfrm>
            <a:off x="7177706" y="3551542"/>
            <a:ext cx="4104457" cy="218268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0" name="Chart Placeholder 4">
            <a:extLst>
              <a:ext uri="{FF2B5EF4-FFF2-40B4-BE49-F238E27FC236}">
                <a16:creationId xmlns:a16="http://schemas.microsoft.com/office/drawing/2014/main" id="{D4D8A838-D02B-4469-AEA9-16DE3D31BF25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7426684" y="3783111"/>
            <a:ext cx="3565781" cy="1715216"/>
          </a:xfrm>
        </p:spPr>
        <p:txBody>
          <a:bodyPr/>
          <a:lstStyle/>
          <a:p>
            <a:r>
              <a:rPr lang="en-US"/>
              <a:t>Click icon to add char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9000671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EFBBE49-06AF-4882-9E4E-B9F858E30C27}"/>
              </a:ext>
            </a:extLst>
          </p:cNvPr>
          <p:cNvSpPr/>
          <p:nvPr userDrawn="1"/>
        </p:nvSpPr>
        <p:spPr>
          <a:xfrm>
            <a:off x="744194" y="1889290"/>
            <a:ext cx="4993353" cy="182730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309359" y="-1"/>
            <a:ext cx="5885815" cy="6862763"/>
          </a:xfrm>
          <a:solidFill>
            <a:srgbClr val="A7A299"/>
          </a:solidFill>
        </p:spPr>
        <p:txBody>
          <a:bodyPr anchor="ctr" anchorCtr="0"/>
          <a:lstStyle>
            <a:lvl1pPr algn="ctr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25669" y="2066511"/>
            <a:ext cx="4595854" cy="1453362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4"/>
                </a:solidFill>
              </a:defRPr>
            </a:lvl3pPr>
            <a:lvl4pPr>
              <a:defRPr>
                <a:solidFill>
                  <a:schemeClr val="accent4"/>
                </a:solidFill>
              </a:defRPr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5353393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5353393" cy="6124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55CC29D-06F7-4200-8CAA-E4EBD190122E}"/>
              </a:ext>
            </a:extLst>
          </p:cNvPr>
          <p:cNvSpPr/>
          <p:nvPr userDrawn="1"/>
        </p:nvSpPr>
        <p:spPr>
          <a:xfrm>
            <a:off x="744194" y="3954064"/>
            <a:ext cx="4993353" cy="182730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6F242F9-7C91-427C-8FC4-4879E79A4C12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5669" y="4131285"/>
            <a:ext cx="4595854" cy="1453362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4"/>
                </a:solidFill>
              </a:defRPr>
            </a:lvl3pPr>
            <a:lvl4pPr>
              <a:defRPr>
                <a:solidFill>
                  <a:schemeClr val="accent4"/>
                </a:solidFill>
              </a:defRPr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377865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236824" y="5647483"/>
            <a:ext cx="5214158" cy="216150"/>
          </a:xfrm>
        </p:spPr>
        <p:txBody>
          <a:bodyPr>
            <a:noAutofit/>
          </a:bodyPr>
          <a:lstStyle>
            <a:lvl1pPr>
              <a:buFontTx/>
              <a:buNone/>
              <a:defRPr sz="14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236824" y="2287588"/>
            <a:ext cx="5214158" cy="3314300"/>
          </a:xfrm>
          <a:solidFill>
            <a:srgbClr val="A7A299"/>
          </a:solidFill>
        </p:spPr>
        <p:txBody>
          <a:bodyPr anchor="ctr" anchorCtr="0"/>
          <a:lstStyle>
            <a:lvl1pPr algn="ctr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4194" y="2243490"/>
            <a:ext cx="5214158" cy="347549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4"/>
                </a:solidFill>
              </a:defRPr>
            </a:lvl3pPr>
            <a:lvl4pPr>
              <a:defRPr>
                <a:solidFill>
                  <a:schemeClr val="accent4"/>
                </a:solidFill>
              </a:defRPr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036394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8034889" y="5647475"/>
            <a:ext cx="3416093" cy="216150"/>
          </a:xfrm>
        </p:spPr>
        <p:txBody>
          <a:bodyPr>
            <a:noAutofit/>
          </a:bodyPr>
          <a:lstStyle>
            <a:lvl1pPr>
              <a:buFontTx/>
              <a:buNone/>
              <a:defRPr sz="14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2544662" y="5647483"/>
            <a:ext cx="5214158" cy="216150"/>
          </a:xfrm>
        </p:spPr>
        <p:txBody>
          <a:bodyPr>
            <a:noAutofit/>
          </a:bodyPr>
          <a:lstStyle>
            <a:lvl1pPr>
              <a:buFontTx/>
              <a:buNone/>
              <a:defRPr sz="14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6"/>
          </p:nvPr>
        </p:nvSpPr>
        <p:spPr>
          <a:xfrm>
            <a:off x="8034889" y="2287580"/>
            <a:ext cx="3416093" cy="3314300"/>
          </a:xfrm>
          <a:solidFill>
            <a:srgbClr val="A7A299"/>
          </a:solidFill>
        </p:spPr>
        <p:txBody>
          <a:bodyPr anchor="ctr" anchorCtr="0"/>
          <a:lstStyle>
            <a:lvl1pPr algn="ctr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2544662" y="2287588"/>
            <a:ext cx="5214158" cy="3314300"/>
          </a:xfrm>
          <a:solidFill>
            <a:srgbClr val="A7A299"/>
          </a:solidFill>
        </p:spPr>
        <p:txBody>
          <a:bodyPr anchor="ctr" anchorCtr="0"/>
          <a:lstStyle>
            <a:lvl1pPr algn="ctr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5175" cy="6862763"/>
          </a:xfrm>
          <a:solidFill>
            <a:srgbClr val="A7A299"/>
          </a:solidFill>
        </p:spPr>
        <p:txBody>
          <a:bodyPr anchor="ctr" anchorCtr="0"/>
          <a:lstStyle>
            <a:lvl1pPr algn="ctr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309359" y="-1"/>
            <a:ext cx="5885815" cy="6862763"/>
          </a:xfrm>
          <a:solidFill>
            <a:srgbClr val="A7A299"/>
          </a:solidFill>
        </p:spPr>
        <p:txBody>
          <a:bodyPr anchor="ctr" anchorCtr="0"/>
          <a:lstStyle>
            <a:lvl1pPr algn="ctr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97186" y="2243490"/>
            <a:ext cx="3388629" cy="899859"/>
          </a:xfrm>
        </p:spPr>
        <p:txBody>
          <a:bodyPr>
            <a:noAutofit/>
          </a:bodyPr>
          <a:lstStyle>
            <a:lvl1pPr>
              <a:defRPr sz="1400">
                <a:solidFill>
                  <a:schemeClr val="accent4"/>
                </a:solidFill>
              </a:defRPr>
            </a:lvl1pPr>
            <a:lvl2pPr>
              <a:defRPr sz="1400">
                <a:solidFill>
                  <a:schemeClr val="accent4"/>
                </a:solidFill>
              </a:defRPr>
            </a:lvl2pPr>
            <a:lvl3pPr>
              <a:defRPr sz="1400">
                <a:solidFill>
                  <a:schemeClr val="accent4"/>
                </a:solidFill>
              </a:defRPr>
            </a:lvl3pPr>
            <a:lvl4pPr>
              <a:defRPr sz="1400">
                <a:solidFill>
                  <a:schemeClr val="accent4"/>
                </a:solidFill>
              </a:defRPr>
            </a:lvl4pPr>
            <a:lvl5pPr>
              <a:defRPr sz="1400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5353393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5353393" cy="612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F81F412-A1B6-43D2-B77D-A007C0E6E04E}"/>
              </a:ext>
            </a:extLst>
          </p:cNvPr>
          <p:cNvSpPr/>
          <p:nvPr userDrawn="1"/>
        </p:nvSpPr>
        <p:spPr>
          <a:xfrm>
            <a:off x="744194" y="2190289"/>
            <a:ext cx="1652642" cy="957830"/>
          </a:xfrm>
          <a:prstGeom prst="rect">
            <a:avLst/>
          </a:prstGeom>
          <a:solidFill>
            <a:schemeClr val="accent1"/>
          </a:solidFill>
        </p:spPr>
        <p:txBody>
          <a:bodyPr wrap="square" lIns="35985" tIns="35985" rIns="35985" bIns="35985" anchor="ctr">
            <a:noAutofit/>
          </a:bodyPr>
          <a:lstStyle/>
          <a:p>
            <a:pPr algn="ctr">
              <a:spcBef>
                <a:spcPts val="300"/>
              </a:spcBef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F40626E-3EF0-4503-8B58-5997CF964492}"/>
              </a:ext>
            </a:extLst>
          </p:cNvPr>
          <p:cNvSpPr/>
          <p:nvPr userDrawn="1"/>
        </p:nvSpPr>
        <p:spPr>
          <a:xfrm>
            <a:off x="733425" y="3338727"/>
            <a:ext cx="1652641" cy="957830"/>
          </a:xfrm>
          <a:prstGeom prst="rect">
            <a:avLst/>
          </a:prstGeom>
          <a:solidFill>
            <a:schemeClr val="accent2"/>
          </a:solidFill>
        </p:spPr>
        <p:txBody>
          <a:bodyPr wrap="square" lIns="35985" tIns="35985" rIns="35985" bIns="35985" anchor="ctr">
            <a:noAutofit/>
          </a:bodyPr>
          <a:lstStyle/>
          <a:p>
            <a:pPr algn="ctr">
              <a:spcBef>
                <a:spcPts val="300"/>
              </a:spcBef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3B94F88-ED7D-41C4-9259-D0677E500AA8}"/>
              </a:ext>
            </a:extLst>
          </p:cNvPr>
          <p:cNvSpPr/>
          <p:nvPr userDrawn="1"/>
        </p:nvSpPr>
        <p:spPr>
          <a:xfrm>
            <a:off x="733425" y="4507127"/>
            <a:ext cx="1652641" cy="957830"/>
          </a:xfrm>
          <a:prstGeom prst="rect">
            <a:avLst/>
          </a:prstGeom>
          <a:solidFill>
            <a:schemeClr val="accent4"/>
          </a:solidFill>
        </p:spPr>
        <p:txBody>
          <a:bodyPr wrap="square" lIns="35985" tIns="35985" rIns="35985" bIns="35985" anchor="ctr">
            <a:noAutofit/>
          </a:bodyPr>
          <a:lstStyle/>
          <a:p>
            <a:pPr algn="ctr">
              <a:spcBef>
                <a:spcPts val="300"/>
              </a:spcBef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5761F46-D4BB-45FA-8F3A-E9ACFF60AF3E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2497186" y="3354535"/>
            <a:ext cx="3388629" cy="899859"/>
          </a:xfrm>
        </p:spPr>
        <p:txBody>
          <a:bodyPr>
            <a:noAutofit/>
          </a:bodyPr>
          <a:lstStyle>
            <a:lvl1pPr>
              <a:defRPr sz="1400">
                <a:solidFill>
                  <a:schemeClr val="accent4"/>
                </a:solidFill>
              </a:defRPr>
            </a:lvl1pPr>
            <a:lvl2pPr>
              <a:defRPr sz="1400">
                <a:solidFill>
                  <a:schemeClr val="accent4"/>
                </a:solidFill>
              </a:defRPr>
            </a:lvl2pPr>
            <a:lvl3pPr>
              <a:defRPr sz="1400">
                <a:solidFill>
                  <a:schemeClr val="accent4"/>
                </a:solidFill>
              </a:defRPr>
            </a:lvl3pPr>
            <a:lvl4pPr>
              <a:defRPr sz="1400">
                <a:solidFill>
                  <a:schemeClr val="accent4"/>
                </a:solidFill>
              </a:defRPr>
            </a:lvl4pPr>
            <a:lvl5pPr>
              <a:defRPr sz="1400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C58F0FB7-8987-48CE-A916-BB60A4C574D5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2497186" y="4524574"/>
            <a:ext cx="3388629" cy="899859"/>
          </a:xfrm>
        </p:spPr>
        <p:txBody>
          <a:bodyPr>
            <a:noAutofit/>
          </a:bodyPr>
          <a:lstStyle>
            <a:lvl1pPr>
              <a:defRPr sz="1400">
                <a:solidFill>
                  <a:schemeClr val="accent4"/>
                </a:solidFill>
              </a:defRPr>
            </a:lvl1pPr>
            <a:lvl2pPr>
              <a:defRPr sz="1400">
                <a:solidFill>
                  <a:schemeClr val="accent4"/>
                </a:solidFill>
              </a:defRPr>
            </a:lvl2pPr>
            <a:lvl3pPr>
              <a:defRPr sz="1400">
                <a:solidFill>
                  <a:schemeClr val="accent4"/>
                </a:solidFill>
              </a:defRPr>
            </a:lvl3pPr>
            <a:lvl4pPr>
              <a:defRPr sz="1400">
                <a:solidFill>
                  <a:schemeClr val="accent4"/>
                </a:solidFill>
              </a:defRPr>
            </a:lvl4pPr>
            <a:lvl5pPr>
              <a:defRPr sz="1400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1084C720-D496-4426-8B6A-7E04CD87EA41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865238" y="2338188"/>
            <a:ext cx="1540492" cy="661145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255775" indent="0">
              <a:buNone/>
              <a:defRPr sz="1600" b="1">
                <a:solidFill>
                  <a:schemeClr val="bg1"/>
                </a:solidFill>
              </a:defRPr>
            </a:lvl2pPr>
            <a:lvl3pPr marL="427265" indent="0">
              <a:buNone/>
              <a:defRPr sz="1400" b="1">
                <a:solidFill>
                  <a:schemeClr val="bg1"/>
                </a:solidFill>
              </a:defRPr>
            </a:lvl3pPr>
            <a:lvl4pPr marL="642788" indent="0">
              <a:buNone/>
              <a:defRPr sz="1400" b="1">
                <a:solidFill>
                  <a:schemeClr val="bg1"/>
                </a:solidFill>
              </a:defRPr>
            </a:lvl4pPr>
            <a:lvl5pPr marL="852639" indent="0">
              <a:buNone/>
              <a:defRPr sz="1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7E140563-BB46-45EE-8132-30B17B3503A7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865238" y="3468897"/>
            <a:ext cx="1540492" cy="661145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255775" indent="0">
              <a:buNone/>
              <a:defRPr sz="1600" b="1">
                <a:solidFill>
                  <a:schemeClr val="bg1"/>
                </a:solidFill>
              </a:defRPr>
            </a:lvl2pPr>
            <a:lvl3pPr marL="427265" indent="0">
              <a:buNone/>
              <a:defRPr sz="1400" b="1">
                <a:solidFill>
                  <a:schemeClr val="bg1"/>
                </a:solidFill>
              </a:defRPr>
            </a:lvl3pPr>
            <a:lvl4pPr marL="642788" indent="0">
              <a:buNone/>
              <a:defRPr sz="1400" b="1">
                <a:solidFill>
                  <a:schemeClr val="bg1"/>
                </a:solidFill>
              </a:defRPr>
            </a:lvl4pPr>
            <a:lvl5pPr marL="852639" indent="0">
              <a:buNone/>
              <a:defRPr sz="1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C41BE7F3-1538-4104-A0BA-15957E04FD80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865238" y="4658601"/>
            <a:ext cx="1540492" cy="661145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255775" indent="0">
              <a:buNone/>
              <a:defRPr sz="1600" b="1">
                <a:solidFill>
                  <a:schemeClr val="bg1"/>
                </a:solidFill>
              </a:defRPr>
            </a:lvl2pPr>
            <a:lvl3pPr marL="427265" indent="0">
              <a:buNone/>
              <a:defRPr sz="1400" b="1">
                <a:solidFill>
                  <a:schemeClr val="bg1"/>
                </a:solidFill>
              </a:defRPr>
            </a:lvl3pPr>
            <a:lvl4pPr marL="642788" indent="0">
              <a:buNone/>
              <a:defRPr sz="1400" b="1">
                <a:solidFill>
                  <a:schemeClr val="bg1"/>
                </a:solidFill>
              </a:defRPr>
            </a:lvl4pPr>
            <a:lvl5pPr marL="852639" indent="0">
              <a:buNone/>
              <a:defRPr sz="1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0496489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309359" y="-1"/>
            <a:ext cx="5885815" cy="6862763"/>
          </a:xfrm>
          <a:solidFill>
            <a:srgbClr val="A7A299"/>
          </a:solidFill>
        </p:spPr>
        <p:txBody>
          <a:bodyPr anchor="ctr" anchorCtr="0"/>
          <a:lstStyle>
            <a:lvl1pPr algn="ctr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92934" y="1789069"/>
            <a:ext cx="3388629" cy="899859"/>
          </a:xfrm>
        </p:spPr>
        <p:txBody>
          <a:bodyPr>
            <a:noAutofit/>
          </a:bodyPr>
          <a:lstStyle>
            <a:lvl1pPr>
              <a:defRPr sz="1400">
                <a:solidFill>
                  <a:schemeClr val="accent4"/>
                </a:solidFill>
              </a:defRPr>
            </a:lvl1pPr>
            <a:lvl2pPr>
              <a:defRPr sz="1400">
                <a:solidFill>
                  <a:schemeClr val="accent4"/>
                </a:solidFill>
              </a:defRPr>
            </a:lvl2pPr>
            <a:lvl3pPr>
              <a:defRPr sz="1400">
                <a:solidFill>
                  <a:schemeClr val="accent4"/>
                </a:solidFill>
              </a:defRPr>
            </a:lvl3pPr>
            <a:lvl4pPr>
              <a:defRPr sz="1400">
                <a:solidFill>
                  <a:schemeClr val="accent4"/>
                </a:solidFill>
              </a:defRPr>
            </a:lvl4pPr>
            <a:lvl5pPr>
              <a:defRPr sz="1400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5353393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5353393" cy="612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F81F412-A1B6-43D2-B77D-A007C0E6E04E}"/>
              </a:ext>
            </a:extLst>
          </p:cNvPr>
          <p:cNvSpPr/>
          <p:nvPr userDrawn="1"/>
        </p:nvSpPr>
        <p:spPr>
          <a:xfrm>
            <a:off x="739942" y="1775197"/>
            <a:ext cx="1652642" cy="957830"/>
          </a:xfrm>
          <a:prstGeom prst="rect">
            <a:avLst/>
          </a:prstGeom>
          <a:solidFill>
            <a:schemeClr val="accent1"/>
          </a:solidFill>
        </p:spPr>
        <p:txBody>
          <a:bodyPr wrap="square" lIns="35985" tIns="35985" rIns="35985" bIns="35985" anchor="ctr">
            <a:noAutofit/>
          </a:bodyPr>
          <a:lstStyle/>
          <a:p>
            <a:pPr algn="ctr">
              <a:spcBef>
                <a:spcPts val="300"/>
              </a:spcBef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F40626E-3EF0-4503-8B58-5997CF964492}"/>
              </a:ext>
            </a:extLst>
          </p:cNvPr>
          <p:cNvSpPr/>
          <p:nvPr userDrawn="1"/>
        </p:nvSpPr>
        <p:spPr>
          <a:xfrm>
            <a:off x="729173" y="2845074"/>
            <a:ext cx="1652641" cy="957830"/>
          </a:xfrm>
          <a:prstGeom prst="rect">
            <a:avLst/>
          </a:prstGeom>
          <a:solidFill>
            <a:schemeClr val="accent3"/>
          </a:solidFill>
        </p:spPr>
        <p:txBody>
          <a:bodyPr wrap="square" lIns="35985" tIns="35985" rIns="35985" bIns="35985" anchor="ctr">
            <a:noAutofit/>
          </a:bodyPr>
          <a:lstStyle/>
          <a:p>
            <a:pPr algn="ctr">
              <a:spcBef>
                <a:spcPts val="300"/>
              </a:spcBef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3B94F88-ED7D-41C4-9259-D0677E500AA8}"/>
              </a:ext>
            </a:extLst>
          </p:cNvPr>
          <p:cNvSpPr/>
          <p:nvPr userDrawn="1"/>
        </p:nvSpPr>
        <p:spPr>
          <a:xfrm>
            <a:off x="729173" y="3925194"/>
            <a:ext cx="1652641" cy="957830"/>
          </a:xfrm>
          <a:prstGeom prst="rect">
            <a:avLst/>
          </a:prstGeom>
          <a:solidFill>
            <a:schemeClr val="accent2"/>
          </a:solidFill>
        </p:spPr>
        <p:txBody>
          <a:bodyPr wrap="square" lIns="35985" tIns="35985" rIns="35985" bIns="35985" anchor="ctr">
            <a:noAutofit/>
          </a:bodyPr>
          <a:lstStyle/>
          <a:p>
            <a:pPr algn="ctr">
              <a:spcBef>
                <a:spcPts val="300"/>
              </a:spcBef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5761F46-D4BB-45FA-8F3A-E9ACFF60AF3E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2492934" y="2856860"/>
            <a:ext cx="3388629" cy="899859"/>
          </a:xfrm>
        </p:spPr>
        <p:txBody>
          <a:bodyPr>
            <a:noAutofit/>
          </a:bodyPr>
          <a:lstStyle>
            <a:lvl1pPr>
              <a:defRPr sz="1400">
                <a:solidFill>
                  <a:schemeClr val="accent4"/>
                </a:solidFill>
              </a:defRPr>
            </a:lvl1pPr>
            <a:lvl2pPr>
              <a:defRPr sz="1400">
                <a:solidFill>
                  <a:schemeClr val="accent4"/>
                </a:solidFill>
              </a:defRPr>
            </a:lvl2pPr>
            <a:lvl3pPr>
              <a:defRPr sz="1400">
                <a:solidFill>
                  <a:schemeClr val="accent4"/>
                </a:solidFill>
              </a:defRPr>
            </a:lvl3pPr>
            <a:lvl4pPr>
              <a:defRPr sz="1400">
                <a:solidFill>
                  <a:schemeClr val="accent4"/>
                </a:solidFill>
              </a:defRPr>
            </a:lvl4pPr>
            <a:lvl5pPr>
              <a:defRPr sz="1400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C58F0FB7-8987-48CE-A916-BB60A4C574D5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2492934" y="3934895"/>
            <a:ext cx="3388629" cy="899859"/>
          </a:xfrm>
        </p:spPr>
        <p:txBody>
          <a:bodyPr>
            <a:noAutofit/>
          </a:bodyPr>
          <a:lstStyle>
            <a:lvl1pPr>
              <a:defRPr sz="1400">
                <a:solidFill>
                  <a:schemeClr val="accent4"/>
                </a:solidFill>
              </a:defRPr>
            </a:lvl1pPr>
            <a:lvl2pPr>
              <a:defRPr sz="1400">
                <a:solidFill>
                  <a:schemeClr val="accent4"/>
                </a:solidFill>
              </a:defRPr>
            </a:lvl2pPr>
            <a:lvl3pPr>
              <a:defRPr sz="1400">
                <a:solidFill>
                  <a:schemeClr val="accent4"/>
                </a:solidFill>
              </a:defRPr>
            </a:lvl3pPr>
            <a:lvl4pPr>
              <a:defRPr sz="1400">
                <a:solidFill>
                  <a:schemeClr val="accent4"/>
                </a:solidFill>
              </a:defRPr>
            </a:lvl4pPr>
            <a:lvl5pPr>
              <a:defRPr sz="1400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1084C720-D496-4426-8B6A-7E04CD87EA41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860986" y="1923096"/>
            <a:ext cx="1540492" cy="661145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255775" indent="0">
              <a:buNone/>
              <a:defRPr sz="1600" b="1">
                <a:solidFill>
                  <a:schemeClr val="bg1"/>
                </a:solidFill>
              </a:defRPr>
            </a:lvl2pPr>
            <a:lvl3pPr marL="427265" indent="0">
              <a:buNone/>
              <a:defRPr sz="1400" b="1">
                <a:solidFill>
                  <a:schemeClr val="bg1"/>
                </a:solidFill>
              </a:defRPr>
            </a:lvl3pPr>
            <a:lvl4pPr marL="642788" indent="0">
              <a:buNone/>
              <a:defRPr sz="1400" b="1">
                <a:solidFill>
                  <a:schemeClr val="bg1"/>
                </a:solidFill>
              </a:defRPr>
            </a:lvl4pPr>
            <a:lvl5pPr marL="852639" indent="0">
              <a:buNone/>
              <a:defRPr sz="1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7E140563-BB46-45EE-8132-30B17B3503A7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860986" y="2961390"/>
            <a:ext cx="1540492" cy="661145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255775" indent="0">
              <a:buNone/>
              <a:defRPr sz="1600" b="1">
                <a:solidFill>
                  <a:schemeClr val="bg1"/>
                </a:solidFill>
              </a:defRPr>
            </a:lvl2pPr>
            <a:lvl3pPr marL="427265" indent="0">
              <a:buNone/>
              <a:defRPr sz="1400" b="1">
                <a:solidFill>
                  <a:schemeClr val="bg1"/>
                </a:solidFill>
              </a:defRPr>
            </a:lvl3pPr>
            <a:lvl4pPr marL="642788" indent="0">
              <a:buNone/>
              <a:defRPr sz="1400" b="1">
                <a:solidFill>
                  <a:schemeClr val="bg1"/>
                </a:solidFill>
              </a:defRPr>
            </a:lvl4pPr>
            <a:lvl5pPr marL="852639" indent="0">
              <a:buNone/>
              <a:defRPr sz="1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C41BE7F3-1538-4104-A0BA-15957E04FD80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860986" y="4068922"/>
            <a:ext cx="1540492" cy="661145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255775" indent="0">
              <a:buNone/>
              <a:defRPr sz="1600" b="1">
                <a:solidFill>
                  <a:schemeClr val="bg1"/>
                </a:solidFill>
              </a:defRPr>
            </a:lvl2pPr>
            <a:lvl3pPr marL="427265" indent="0">
              <a:buNone/>
              <a:defRPr sz="1400" b="1">
                <a:solidFill>
                  <a:schemeClr val="bg1"/>
                </a:solidFill>
              </a:defRPr>
            </a:lvl3pPr>
            <a:lvl4pPr marL="642788" indent="0">
              <a:buNone/>
              <a:defRPr sz="1400" b="1">
                <a:solidFill>
                  <a:schemeClr val="bg1"/>
                </a:solidFill>
              </a:defRPr>
            </a:lvl4pPr>
            <a:lvl5pPr marL="852639" indent="0">
              <a:buNone/>
              <a:defRPr sz="1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87A05CC-25B0-4CDC-BB14-1EABC0775CAC}"/>
              </a:ext>
            </a:extLst>
          </p:cNvPr>
          <p:cNvSpPr/>
          <p:nvPr userDrawn="1"/>
        </p:nvSpPr>
        <p:spPr>
          <a:xfrm>
            <a:off x="729173" y="5005314"/>
            <a:ext cx="1652641" cy="957830"/>
          </a:xfrm>
          <a:prstGeom prst="rect">
            <a:avLst/>
          </a:prstGeom>
          <a:solidFill>
            <a:schemeClr val="accent4"/>
          </a:solidFill>
        </p:spPr>
        <p:txBody>
          <a:bodyPr wrap="square" lIns="35985" tIns="35985" rIns="35985" bIns="35985" anchor="ctr">
            <a:noAutofit/>
          </a:bodyPr>
          <a:lstStyle/>
          <a:p>
            <a:pPr algn="ctr">
              <a:spcBef>
                <a:spcPts val="300"/>
              </a:spcBef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13FD4CD3-8111-481B-BAB8-09889B8826D5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2492934" y="5022761"/>
            <a:ext cx="3388629" cy="899859"/>
          </a:xfrm>
        </p:spPr>
        <p:txBody>
          <a:bodyPr>
            <a:noAutofit/>
          </a:bodyPr>
          <a:lstStyle>
            <a:lvl1pPr>
              <a:defRPr sz="1400">
                <a:solidFill>
                  <a:schemeClr val="accent4"/>
                </a:solidFill>
              </a:defRPr>
            </a:lvl1pPr>
            <a:lvl2pPr>
              <a:defRPr sz="1400">
                <a:solidFill>
                  <a:schemeClr val="accent4"/>
                </a:solidFill>
              </a:defRPr>
            </a:lvl2pPr>
            <a:lvl3pPr>
              <a:defRPr sz="1400">
                <a:solidFill>
                  <a:schemeClr val="accent4"/>
                </a:solidFill>
              </a:defRPr>
            </a:lvl3pPr>
            <a:lvl4pPr>
              <a:defRPr sz="1400">
                <a:solidFill>
                  <a:schemeClr val="accent4"/>
                </a:solidFill>
              </a:defRPr>
            </a:lvl4pPr>
            <a:lvl5pPr>
              <a:defRPr sz="1400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E8F58E4F-AD71-471B-8BF4-2A45573A4E56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860986" y="5156788"/>
            <a:ext cx="1540492" cy="661145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255775" indent="0">
              <a:buNone/>
              <a:defRPr sz="1600" b="1">
                <a:solidFill>
                  <a:schemeClr val="bg1"/>
                </a:solidFill>
              </a:defRPr>
            </a:lvl2pPr>
            <a:lvl3pPr marL="427265" indent="0">
              <a:buNone/>
              <a:defRPr sz="1400" b="1">
                <a:solidFill>
                  <a:schemeClr val="bg1"/>
                </a:solidFill>
              </a:defRPr>
            </a:lvl3pPr>
            <a:lvl4pPr marL="642788" indent="0">
              <a:buNone/>
              <a:defRPr sz="1400" b="1">
                <a:solidFill>
                  <a:schemeClr val="bg1"/>
                </a:solidFill>
              </a:defRPr>
            </a:lvl4pPr>
            <a:lvl5pPr marL="852639" indent="0">
              <a:buNone/>
              <a:defRPr sz="1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4032031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211BD83-C7AC-483B-B986-D188B970B5C6}"/>
              </a:ext>
            </a:extLst>
          </p:cNvPr>
          <p:cNvSpPr/>
          <p:nvPr userDrawn="1"/>
        </p:nvSpPr>
        <p:spPr>
          <a:xfrm>
            <a:off x="744194" y="1905486"/>
            <a:ext cx="5096535" cy="38135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70025B8-F263-482A-A9C2-99F8495AAA12}"/>
              </a:ext>
            </a:extLst>
          </p:cNvPr>
          <p:cNvSpPr/>
          <p:nvPr userDrawn="1"/>
        </p:nvSpPr>
        <p:spPr>
          <a:xfrm>
            <a:off x="6114697" y="1905486"/>
            <a:ext cx="5096535" cy="38135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6320975" y="2104102"/>
            <a:ext cx="4618660" cy="342162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53729" y="2104102"/>
            <a:ext cx="4618660" cy="342162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96026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211BD83-C7AC-483B-B986-D188B970B5C6}"/>
              </a:ext>
            </a:extLst>
          </p:cNvPr>
          <p:cNvSpPr/>
          <p:nvPr userDrawn="1"/>
        </p:nvSpPr>
        <p:spPr>
          <a:xfrm>
            <a:off x="744195" y="1905486"/>
            <a:ext cx="3336191" cy="38135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53729" y="2488132"/>
            <a:ext cx="2955734" cy="303759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9158556-7FAC-413B-8CF7-1958C9D38D79}"/>
              </a:ext>
            </a:extLst>
          </p:cNvPr>
          <p:cNvSpPr/>
          <p:nvPr userDrawn="1"/>
        </p:nvSpPr>
        <p:spPr>
          <a:xfrm>
            <a:off x="4339735" y="1905486"/>
            <a:ext cx="3336191" cy="38135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69E64DC6-685E-4E71-8492-7DA77406C3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549269" y="2488132"/>
            <a:ext cx="2955734" cy="303759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5E88338-54FF-4AE6-8F61-BCB024224E59}"/>
              </a:ext>
            </a:extLst>
          </p:cNvPr>
          <p:cNvSpPr/>
          <p:nvPr userDrawn="1"/>
        </p:nvSpPr>
        <p:spPr>
          <a:xfrm>
            <a:off x="7935275" y="1905486"/>
            <a:ext cx="3336191" cy="38135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E5259992-5126-4336-9E23-B0FF8EFDEA4D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144809" y="2488132"/>
            <a:ext cx="2955734" cy="303759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C1F006F5-FA7D-47D8-A7CD-3C177F2A7AE2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953729" y="2082837"/>
            <a:ext cx="2955734" cy="381229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943B6543-63A5-4B97-9749-20AD27D7F1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549269" y="2082837"/>
            <a:ext cx="2955734" cy="381229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D81098B6-CEB5-43F8-91AA-7B6E63473547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8144809" y="2082837"/>
            <a:ext cx="2955734" cy="381229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69673883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211BD83-C7AC-483B-B986-D188B970B5C6}"/>
              </a:ext>
            </a:extLst>
          </p:cNvPr>
          <p:cNvSpPr/>
          <p:nvPr userDrawn="1"/>
        </p:nvSpPr>
        <p:spPr>
          <a:xfrm>
            <a:off x="789914" y="1757582"/>
            <a:ext cx="5137368" cy="417646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30737" y="2369574"/>
            <a:ext cx="4649971" cy="33473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0EDF28F-BF9B-4A79-A084-E7CDCB8890BA}"/>
              </a:ext>
            </a:extLst>
          </p:cNvPr>
          <p:cNvGrpSpPr/>
          <p:nvPr userDrawn="1"/>
        </p:nvGrpSpPr>
        <p:grpSpPr>
          <a:xfrm>
            <a:off x="7537747" y="1342308"/>
            <a:ext cx="3496777" cy="4477442"/>
            <a:chOff x="7681763" y="1715845"/>
            <a:chExt cx="3248745" cy="4159850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C34FC37B-0B15-46DE-836C-950098027D0C}"/>
                </a:ext>
              </a:extLst>
            </p:cNvPr>
            <p:cNvSpPr/>
            <p:nvPr userDrawn="1"/>
          </p:nvSpPr>
          <p:spPr>
            <a:xfrm>
              <a:off x="7681763" y="1715845"/>
              <a:ext cx="1317991" cy="131799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2FAFEBB1-75E9-4502-9A4D-113BEC2ED884}"/>
                </a:ext>
              </a:extLst>
            </p:cNvPr>
            <p:cNvSpPr/>
            <p:nvPr userDrawn="1"/>
          </p:nvSpPr>
          <p:spPr>
            <a:xfrm>
              <a:off x="9612517" y="1715845"/>
              <a:ext cx="1317991" cy="131799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09180359-9C42-4E15-A222-6F0D1AC53F7E}"/>
                </a:ext>
              </a:extLst>
            </p:cNvPr>
            <p:cNvSpPr/>
            <p:nvPr userDrawn="1"/>
          </p:nvSpPr>
          <p:spPr>
            <a:xfrm>
              <a:off x="7681763" y="3136775"/>
              <a:ext cx="1317991" cy="131799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F9AF2143-55BF-4ABE-94F4-37635AC31BB7}"/>
                </a:ext>
              </a:extLst>
            </p:cNvPr>
            <p:cNvSpPr/>
            <p:nvPr userDrawn="1"/>
          </p:nvSpPr>
          <p:spPr>
            <a:xfrm>
              <a:off x="9612517" y="3136775"/>
              <a:ext cx="1317991" cy="131799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C4041A28-BC7E-4368-B3DE-DF2AE180A302}"/>
                </a:ext>
              </a:extLst>
            </p:cNvPr>
            <p:cNvSpPr/>
            <p:nvPr userDrawn="1"/>
          </p:nvSpPr>
          <p:spPr>
            <a:xfrm>
              <a:off x="7681763" y="4557704"/>
              <a:ext cx="1317991" cy="131799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76BB408A-1393-4157-BF52-CE9907DD5563}"/>
                </a:ext>
              </a:extLst>
            </p:cNvPr>
            <p:cNvSpPr/>
            <p:nvPr userDrawn="1"/>
          </p:nvSpPr>
          <p:spPr>
            <a:xfrm>
              <a:off x="9612517" y="4557704"/>
              <a:ext cx="1317991" cy="131799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8CA7442-DA0E-426F-BA19-AC0615B33C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76526" y="1763291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78625526-4CFD-4147-BDC8-29713DB3552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54687" y="1763291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DF09A028-B0BB-4E64-B97A-DB519331732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6526" y="3297309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22B4B2BC-8D8A-4800-945F-32A7E541F26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754687" y="3297309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34" name="Text Placeholder 10">
            <a:extLst>
              <a:ext uri="{FF2B5EF4-FFF2-40B4-BE49-F238E27FC236}">
                <a16:creationId xmlns:a16="http://schemas.microsoft.com/office/drawing/2014/main" id="{655652AB-6D0E-49E8-BD04-685165BBC7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676526" y="4815101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2BA6E47B-C09A-4F86-AF9D-ED45AD865CB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754687" y="4815101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36" name="Isosceles Triangle 35">
            <a:extLst>
              <a:ext uri="{FF2B5EF4-FFF2-40B4-BE49-F238E27FC236}">
                <a16:creationId xmlns:a16="http://schemas.microsoft.com/office/drawing/2014/main" id="{1B28C189-0EF4-40AB-8831-B0B55FC7656C}"/>
              </a:ext>
            </a:extLst>
          </p:cNvPr>
          <p:cNvSpPr/>
          <p:nvPr userDrawn="1"/>
        </p:nvSpPr>
        <p:spPr>
          <a:xfrm rot="5400000">
            <a:off x="9094403" y="1951606"/>
            <a:ext cx="399864" cy="189770"/>
          </a:xfrm>
          <a:prstGeom prst="triangl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7" name="Isosceles Triangle 36">
            <a:extLst>
              <a:ext uri="{FF2B5EF4-FFF2-40B4-BE49-F238E27FC236}">
                <a16:creationId xmlns:a16="http://schemas.microsoft.com/office/drawing/2014/main" id="{C2E0AEB8-7411-4143-A3D0-13AA19B7BFF5}"/>
              </a:ext>
            </a:extLst>
          </p:cNvPr>
          <p:cNvSpPr/>
          <p:nvPr userDrawn="1"/>
        </p:nvSpPr>
        <p:spPr>
          <a:xfrm rot="5400000">
            <a:off x="9094403" y="3486145"/>
            <a:ext cx="399864" cy="189770"/>
          </a:xfrm>
          <a:prstGeom prst="triangl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8" name="Isosceles Triangle 37">
            <a:extLst>
              <a:ext uri="{FF2B5EF4-FFF2-40B4-BE49-F238E27FC236}">
                <a16:creationId xmlns:a16="http://schemas.microsoft.com/office/drawing/2014/main" id="{76423A02-640F-40D1-885F-81676B11F2F9}"/>
              </a:ext>
            </a:extLst>
          </p:cNvPr>
          <p:cNvSpPr/>
          <p:nvPr userDrawn="1"/>
        </p:nvSpPr>
        <p:spPr>
          <a:xfrm rot="5400000">
            <a:off x="9094403" y="5020684"/>
            <a:ext cx="399864" cy="189770"/>
          </a:xfrm>
          <a:prstGeom prst="triangl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1" name="Content Placeholder 2">
            <a:extLst>
              <a:ext uri="{FF2B5EF4-FFF2-40B4-BE49-F238E27FC236}">
                <a16:creationId xmlns:a16="http://schemas.microsoft.com/office/drawing/2014/main" id="{FE3CB655-EFB2-4F6F-A4B9-919960F450E1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1030737" y="1936956"/>
            <a:ext cx="4649971" cy="383458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14665255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4193" y="1902727"/>
            <a:ext cx="6001465" cy="389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F9D2B662-BC92-4C95-9720-3C2092E7DAD9}"/>
              </a:ext>
            </a:extLst>
          </p:cNvPr>
          <p:cNvGrpSpPr/>
          <p:nvPr userDrawn="1"/>
        </p:nvGrpSpPr>
        <p:grpSpPr>
          <a:xfrm>
            <a:off x="7537747" y="1342308"/>
            <a:ext cx="3496777" cy="4477442"/>
            <a:chOff x="7681763" y="1715845"/>
            <a:chExt cx="3248745" cy="4159850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0485CAA3-919F-4345-A9B1-DCF7960DF23F}"/>
                </a:ext>
              </a:extLst>
            </p:cNvPr>
            <p:cNvSpPr/>
            <p:nvPr userDrawn="1"/>
          </p:nvSpPr>
          <p:spPr>
            <a:xfrm>
              <a:off x="7681763" y="1715845"/>
              <a:ext cx="1317991" cy="131799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0CE42980-7773-4002-B3F9-1D9A0D7D2BFA}"/>
                </a:ext>
              </a:extLst>
            </p:cNvPr>
            <p:cNvSpPr/>
            <p:nvPr userDrawn="1"/>
          </p:nvSpPr>
          <p:spPr>
            <a:xfrm>
              <a:off x="9612517" y="1715845"/>
              <a:ext cx="1317991" cy="131799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7BA9CE04-7F07-4BFA-8E94-B357FD53623F}"/>
                </a:ext>
              </a:extLst>
            </p:cNvPr>
            <p:cNvSpPr/>
            <p:nvPr userDrawn="1"/>
          </p:nvSpPr>
          <p:spPr>
            <a:xfrm>
              <a:off x="7681763" y="3136775"/>
              <a:ext cx="1317991" cy="131799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822539FB-029F-4637-A73F-5276CB04505F}"/>
                </a:ext>
              </a:extLst>
            </p:cNvPr>
            <p:cNvSpPr/>
            <p:nvPr userDrawn="1"/>
          </p:nvSpPr>
          <p:spPr>
            <a:xfrm>
              <a:off x="9612517" y="3136775"/>
              <a:ext cx="1317991" cy="131799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813677B7-1447-46EA-AE00-A86D01783857}"/>
                </a:ext>
              </a:extLst>
            </p:cNvPr>
            <p:cNvSpPr/>
            <p:nvPr userDrawn="1"/>
          </p:nvSpPr>
          <p:spPr>
            <a:xfrm>
              <a:off x="7681763" y="4557704"/>
              <a:ext cx="1317991" cy="131799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562D558D-5CF1-4CA9-A0EB-1AA09E2C1722}"/>
                </a:ext>
              </a:extLst>
            </p:cNvPr>
            <p:cNvSpPr/>
            <p:nvPr userDrawn="1"/>
          </p:nvSpPr>
          <p:spPr>
            <a:xfrm>
              <a:off x="9612517" y="4557704"/>
              <a:ext cx="1317991" cy="131799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870AC112-E2B3-4589-93AE-A4BEF25A394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76526" y="1763291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1" name="Text Placeholder 10">
            <a:extLst>
              <a:ext uri="{FF2B5EF4-FFF2-40B4-BE49-F238E27FC236}">
                <a16:creationId xmlns:a16="http://schemas.microsoft.com/office/drawing/2014/main" id="{02A3641B-E246-493B-9E15-DCC3928116A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54687" y="1763291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976631EF-2BF5-4AB8-9F96-CA4B2B7E42F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6526" y="3297309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3" name="Text Placeholder 10">
            <a:extLst>
              <a:ext uri="{FF2B5EF4-FFF2-40B4-BE49-F238E27FC236}">
                <a16:creationId xmlns:a16="http://schemas.microsoft.com/office/drawing/2014/main" id="{D6313CFB-D6EA-48BD-A2C2-89C41CAC713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754687" y="3297309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4" name="Text Placeholder 10">
            <a:extLst>
              <a:ext uri="{FF2B5EF4-FFF2-40B4-BE49-F238E27FC236}">
                <a16:creationId xmlns:a16="http://schemas.microsoft.com/office/drawing/2014/main" id="{AF6923EA-6CB0-41BD-9DA6-FA54B104C0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676526" y="4815101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5" name="Text Placeholder 10">
            <a:extLst>
              <a:ext uri="{FF2B5EF4-FFF2-40B4-BE49-F238E27FC236}">
                <a16:creationId xmlns:a16="http://schemas.microsoft.com/office/drawing/2014/main" id="{6A1343EF-8221-4A12-ACC1-FDE9E5947F8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754687" y="4815101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6" name="Isosceles Triangle 55">
            <a:extLst>
              <a:ext uri="{FF2B5EF4-FFF2-40B4-BE49-F238E27FC236}">
                <a16:creationId xmlns:a16="http://schemas.microsoft.com/office/drawing/2014/main" id="{732A75E6-3BB5-4C1C-B523-B1A24B055604}"/>
              </a:ext>
            </a:extLst>
          </p:cNvPr>
          <p:cNvSpPr/>
          <p:nvPr userDrawn="1"/>
        </p:nvSpPr>
        <p:spPr>
          <a:xfrm rot="5400000">
            <a:off x="9094403" y="1951606"/>
            <a:ext cx="399864" cy="189770"/>
          </a:xfrm>
          <a:prstGeom prst="triangl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7" name="Isosceles Triangle 56">
            <a:extLst>
              <a:ext uri="{FF2B5EF4-FFF2-40B4-BE49-F238E27FC236}">
                <a16:creationId xmlns:a16="http://schemas.microsoft.com/office/drawing/2014/main" id="{06D50067-A6F2-4FAA-84C8-D8FFC04DEAA6}"/>
              </a:ext>
            </a:extLst>
          </p:cNvPr>
          <p:cNvSpPr/>
          <p:nvPr userDrawn="1"/>
        </p:nvSpPr>
        <p:spPr>
          <a:xfrm rot="5400000">
            <a:off x="9094403" y="3486145"/>
            <a:ext cx="399864" cy="189770"/>
          </a:xfrm>
          <a:prstGeom prst="triangl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8" name="Isosceles Triangle 57">
            <a:extLst>
              <a:ext uri="{FF2B5EF4-FFF2-40B4-BE49-F238E27FC236}">
                <a16:creationId xmlns:a16="http://schemas.microsoft.com/office/drawing/2014/main" id="{9E58F2B9-0204-42BB-89DE-CC34DC5C9AF7}"/>
              </a:ext>
            </a:extLst>
          </p:cNvPr>
          <p:cNvSpPr/>
          <p:nvPr userDrawn="1"/>
        </p:nvSpPr>
        <p:spPr>
          <a:xfrm rot="5400000">
            <a:off x="9094403" y="5020684"/>
            <a:ext cx="399864" cy="189770"/>
          </a:xfrm>
          <a:prstGeom prst="triangl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3472893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F9D3B0EE-8E2A-43B1-8843-321CF8F69C4E}"/>
              </a:ext>
            </a:extLst>
          </p:cNvPr>
          <p:cNvSpPr/>
          <p:nvPr userDrawn="1"/>
        </p:nvSpPr>
        <p:spPr>
          <a:xfrm>
            <a:off x="645404" y="3842657"/>
            <a:ext cx="1857577" cy="185757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09F10D9C-73EA-460B-9BE6-95EFD4376A0C}"/>
              </a:ext>
            </a:extLst>
          </p:cNvPr>
          <p:cNvSpPr/>
          <p:nvPr userDrawn="1"/>
        </p:nvSpPr>
        <p:spPr>
          <a:xfrm>
            <a:off x="2930812" y="1595933"/>
            <a:ext cx="2177558" cy="217755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0372A81-9981-4C06-976A-F69EEC85C3E8}"/>
              </a:ext>
            </a:extLst>
          </p:cNvPr>
          <p:cNvSpPr/>
          <p:nvPr userDrawn="1"/>
        </p:nvSpPr>
        <p:spPr>
          <a:xfrm>
            <a:off x="685801" y="1785031"/>
            <a:ext cx="1843776" cy="184377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3482E886-7294-4CF3-BD74-8AAB0F928D94}"/>
              </a:ext>
            </a:extLst>
          </p:cNvPr>
          <p:cNvSpPr/>
          <p:nvPr userDrawn="1"/>
        </p:nvSpPr>
        <p:spPr>
          <a:xfrm>
            <a:off x="2790229" y="4110020"/>
            <a:ext cx="2002145" cy="200214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DC2E8A2F-BF39-45D2-864D-B5F0F7CFC185}"/>
              </a:ext>
            </a:extLst>
          </p:cNvPr>
          <p:cNvSpPr/>
          <p:nvPr userDrawn="1"/>
        </p:nvSpPr>
        <p:spPr>
          <a:xfrm>
            <a:off x="5457196" y="1484243"/>
            <a:ext cx="1770811" cy="177081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58FD6EA7-AC29-4ECA-BF03-E245357AD72A}"/>
              </a:ext>
            </a:extLst>
          </p:cNvPr>
          <p:cNvSpPr/>
          <p:nvPr userDrawn="1"/>
        </p:nvSpPr>
        <p:spPr>
          <a:xfrm>
            <a:off x="7385732" y="1974180"/>
            <a:ext cx="2222094" cy="222209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4ED2CC29-5FBE-4817-B91A-C1C9AD3C714E}"/>
              </a:ext>
            </a:extLst>
          </p:cNvPr>
          <p:cNvSpPr/>
          <p:nvPr userDrawn="1"/>
        </p:nvSpPr>
        <p:spPr>
          <a:xfrm>
            <a:off x="7228007" y="4421484"/>
            <a:ext cx="1690681" cy="169068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C1062A1A-B0DC-40DA-BFB2-3BC0B28A6C70}"/>
              </a:ext>
            </a:extLst>
          </p:cNvPr>
          <p:cNvSpPr/>
          <p:nvPr userDrawn="1"/>
        </p:nvSpPr>
        <p:spPr>
          <a:xfrm>
            <a:off x="4990129" y="3439712"/>
            <a:ext cx="2031366" cy="203136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8D55521E-0F7B-4D11-AD78-9FF8EFF7D524}"/>
              </a:ext>
            </a:extLst>
          </p:cNvPr>
          <p:cNvSpPr/>
          <p:nvPr userDrawn="1"/>
        </p:nvSpPr>
        <p:spPr>
          <a:xfrm>
            <a:off x="9373558" y="3606414"/>
            <a:ext cx="2074103" cy="207410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F4EFF120-A7CB-4072-B9B4-A343C2508EE0}"/>
              </a:ext>
            </a:extLst>
          </p:cNvPr>
          <p:cNvSpPr/>
          <p:nvPr userDrawn="1"/>
        </p:nvSpPr>
        <p:spPr>
          <a:xfrm>
            <a:off x="9851938" y="1585519"/>
            <a:ext cx="1690681" cy="169068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6" name="Text Placeholder 10">
            <a:extLst>
              <a:ext uri="{FF2B5EF4-FFF2-40B4-BE49-F238E27FC236}">
                <a16:creationId xmlns:a16="http://schemas.microsoft.com/office/drawing/2014/main" id="{A52255D5-8140-429B-ADEF-9999D45A39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26250" y="3223562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7" name="Text Placeholder 10">
            <a:extLst>
              <a:ext uri="{FF2B5EF4-FFF2-40B4-BE49-F238E27FC236}">
                <a16:creationId xmlns:a16="http://schemas.microsoft.com/office/drawing/2014/main" id="{9DACFCED-BEEF-443A-A881-D9363A6B9B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33381" y="2673493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8" name="Text Placeholder 10">
            <a:extLst>
              <a:ext uri="{FF2B5EF4-FFF2-40B4-BE49-F238E27FC236}">
                <a16:creationId xmlns:a16="http://schemas.microsoft.com/office/drawing/2014/main" id="{5C122CF5-DACA-4A38-AAE4-D6319E314A1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855411" y="4706675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87CE9040-DB19-47B0-95D6-DEBA73BFB3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762542" y="4156606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099E3563-2808-4F00-917D-80269B10B54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86981" y="5208480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61" name="Text Placeholder 10">
            <a:extLst>
              <a:ext uri="{FF2B5EF4-FFF2-40B4-BE49-F238E27FC236}">
                <a16:creationId xmlns:a16="http://schemas.microsoft.com/office/drawing/2014/main" id="{497972F7-E6E7-48F6-979B-BB607FF1A7A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094112" y="4658411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62" name="Text Placeholder 10">
            <a:extLst>
              <a:ext uri="{FF2B5EF4-FFF2-40B4-BE49-F238E27FC236}">
                <a16:creationId xmlns:a16="http://schemas.microsoft.com/office/drawing/2014/main" id="{F710A930-DDFF-47AD-A9FF-6F1F993C0D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6073" y="4517105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63" name="Text Placeholder 10">
            <a:extLst>
              <a:ext uri="{FF2B5EF4-FFF2-40B4-BE49-F238E27FC236}">
                <a16:creationId xmlns:a16="http://schemas.microsoft.com/office/drawing/2014/main" id="{3C1A8471-813D-41B1-AD59-1420B8AF912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13204" y="3967036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64" name="Text Placeholder 10">
            <a:extLst>
              <a:ext uri="{FF2B5EF4-FFF2-40B4-BE49-F238E27FC236}">
                <a16:creationId xmlns:a16="http://schemas.microsoft.com/office/drawing/2014/main" id="{48B76107-7A34-4670-9D4F-0BFB923F63E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43459" y="2755212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65" name="Text Placeholder 10">
            <a:extLst>
              <a:ext uri="{FF2B5EF4-FFF2-40B4-BE49-F238E27FC236}">
                <a16:creationId xmlns:a16="http://schemas.microsoft.com/office/drawing/2014/main" id="{F5476A21-DC81-4DC8-AF47-B535FEDE8CC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50590" y="2205143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66" name="Text Placeholder 10">
            <a:extLst>
              <a:ext uri="{FF2B5EF4-FFF2-40B4-BE49-F238E27FC236}">
                <a16:creationId xmlns:a16="http://schemas.microsoft.com/office/drawing/2014/main" id="{F2F14FC6-A77A-4A69-9E8B-297AD8DB96A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92800" y="4910460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67" name="Text Placeholder 10">
            <a:extLst>
              <a:ext uri="{FF2B5EF4-FFF2-40B4-BE49-F238E27FC236}">
                <a16:creationId xmlns:a16="http://schemas.microsoft.com/office/drawing/2014/main" id="{7785BD6F-B52D-40B8-B8E2-6163A35F6D9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1745" y="4392773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2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68" name="Text Placeholder 10">
            <a:extLst>
              <a:ext uri="{FF2B5EF4-FFF2-40B4-BE49-F238E27FC236}">
                <a16:creationId xmlns:a16="http://schemas.microsoft.com/office/drawing/2014/main" id="{B2FFD832-76B9-4508-8D52-DDCB3CDE542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33095" y="2843900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69" name="Text Placeholder 10">
            <a:extLst>
              <a:ext uri="{FF2B5EF4-FFF2-40B4-BE49-F238E27FC236}">
                <a16:creationId xmlns:a16="http://schemas.microsoft.com/office/drawing/2014/main" id="{B3A14EA7-B870-4FF2-9AF2-82E869289BA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2040" y="2326213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2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70" name="Text Placeholder 10">
            <a:extLst>
              <a:ext uri="{FF2B5EF4-FFF2-40B4-BE49-F238E27FC236}">
                <a16:creationId xmlns:a16="http://schemas.microsoft.com/office/drawing/2014/main" id="{992AC45F-6701-4A68-A4B6-AA6420FE515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751279" y="2479906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71" name="Text Placeholder 10">
            <a:extLst>
              <a:ext uri="{FF2B5EF4-FFF2-40B4-BE49-F238E27FC236}">
                <a16:creationId xmlns:a16="http://schemas.microsoft.com/office/drawing/2014/main" id="{59E56022-5B2E-4114-810F-AC3D95667E1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50224" y="1962219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2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72" name="Text Placeholder 10">
            <a:extLst>
              <a:ext uri="{FF2B5EF4-FFF2-40B4-BE49-F238E27FC236}">
                <a16:creationId xmlns:a16="http://schemas.microsoft.com/office/drawing/2014/main" id="{A095A141-3B33-4BCA-800E-2E6CEA07EAE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497085" y="5362702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73" name="Text Placeholder 10">
            <a:extLst>
              <a:ext uri="{FF2B5EF4-FFF2-40B4-BE49-F238E27FC236}">
                <a16:creationId xmlns:a16="http://schemas.microsoft.com/office/drawing/2014/main" id="{AC491725-5816-4847-83C8-0246DB6674F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396030" y="4845015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2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74" name="Text Placeholder 10">
            <a:extLst>
              <a:ext uri="{FF2B5EF4-FFF2-40B4-BE49-F238E27FC236}">
                <a16:creationId xmlns:a16="http://schemas.microsoft.com/office/drawing/2014/main" id="{EB0D8EF1-83E2-4204-8607-03ACCAD4184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114779" y="2538820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75" name="Text Placeholder 10">
            <a:extLst>
              <a:ext uri="{FF2B5EF4-FFF2-40B4-BE49-F238E27FC236}">
                <a16:creationId xmlns:a16="http://schemas.microsoft.com/office/drawing/2014/main" id="{B41B9E6E-841D-4501-A1EB-F244BF407E9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013724" y="2021133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2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9348264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ey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F9D3B0EE-8E2A-43B1-8843-321CF8F69C4E}"/>
              </a:ext>
            </a:extLst>
          </p:cNvPr>
          <p:cNvSpPr/>
          <p:nvPr userDrawn="1"/>
        </p:nvSpPr>
        <p:spPr>
          <a:xfrm>
            <a:off x="994725" y="3904302"/>
            <a:ext cx="1857577" cy="185757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09F10D9C-73EA-460B-9BE6-95EFD4376A0C}"/>
              </a:ext>
            </a:extLst>
          </p:cNvPr>
          <p:cNvSpPr/>
          <p:nvPr userDrawn="1"/>
        </p:nvSpPr>
        <p:spPr>
          <a:xfrm>
            <a:off x="2961635" y="1657578"/>
            <a:ext cx="2177558" cy="217755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0372A81-9981-4C06-976A-F69EEC85C3E8}"/>
              </a:ext>
            </a:extLst>
          </p:cNvPr>
          <p:cNvSpPr/>
          <p:nvPr userDrawn="1"/>
        </p:nvSpPr>
        <p:spPr>
          <a:xfrm>
            <a:off x="685801" y="1846676"/>
            <a:ext cx="1843776" cy="184377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3482E886-7294-4CF3-BD74-8AAB0F928D94}"/>
              </a:ext>
            </a:extLst>
          </p:cNvPr>
          <p:cNvSpPr/>
          <p:nvPr userDrawn="1"/>
        </p:nvSpPr>
        <p:spPr>
          <a:xfrm>
            <a:off x="3345416" y="4069090"/>
            <a:ext cx="2002145" cy="200214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DC2E8A2F-BF39-45D2-864D-B5F0F7CFC185}"/>
              </a:ext>
            </a:extLst>
          </p:cNvPr>
          <p:cNvSpPr/>
          <p:nvPr userDrawn="1"/>
        </p:nvSpPr>
        <p:spPr>
          <a:xfrm>
            <a:off x="5457196" y="1545888"/>
            <a:ext cx="1770811" cy="177081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58FD6EA7-AC29-4ECA-BF03-E245357AD72A}"/>
              </a:ext>
            </a:extLst>
          </p:cNvPr>
          <p:cNvSpPr/>
          <p:nvPr userDrawn="1"/>
        </p:nvSpPr>
        <p:spPr>
          <a:xfrm>
            <a:off x="7540849" y="1899088"/>
            <a:ext cx="2014767" cy="201476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C1062A1A-B0DC-40DA-BFB2-3BC0B28A6C70}"/>
              </a:ext>
            </a:extLst>
          </p:cNvPr>
          <p:cNvSpPr/>
          <p:nvPr userDrawn="1"/>
        </p:nvSpPr>
        <p:spPr>
          <a:xfrm>
            <a:off x="5834366" y="3734651"/>
            <a:ext cx="2251396" cy="225139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8D55521E-0F7B-4D11-AD78-9FF8EFF7D524}"/>
              </a:ext>
            </a:extLst>
          </p:cNvPr>
          <p:cNvSpPr/>
          <p:nvPr userDrawn="1"/>
        </p:nvSpPr>
        <p:spPr>
          <a:xfrm>
            <a:off x="8869261" y="3758430"/>
            <a:ext cx="2165184" cy="216518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F4EFF120-A7CB-4072-B9B4-A343C2508EE0}"/>
              </a:ext>
            </a:extLst>
          </p:cNvPr>
          <p:cNvSpPr/>
          <p:nvPr userDrawn="1"/>
        </p:nvSpPr>
        <p:spPr>
          <a:xfrm>
            <a:off x="10058027" y="1937820"/>
            <a:ext cx="1690681" cy="169068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6" name="Text Placeholder 10">
            <a:extLst>
              <a:ext uri="{FF2B5EF4-FFF2-40B4-BE49-F238E27FC236}">
                <a16:creationId xmlns:a16="http://schemas.microsoft.com/office/drawing/2014/main" id="{A52255D5-8140-429B-ADEF-9999D45A39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39202" y="3021206"/>
            <a:ext cx="1034594" cy="391965"/>
          </a:xfrm>
        </p:spPr>
        <p:txBody>
          <a:bodyPr>
            <a:no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7" name="Text Placeholder 10">
            <a:extLst>
              <a:ext uri="{FF2B5EF4-FFF2-40B4-BE49-F238E27FC236}">
                <a16:creationId xmlns:a16="http://schemas.microsoft.com/office/drawing/2014/main" id="{9DACFCED-BEEF-443A-A881-D9363A6B9B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74413" y="2450589"/>
            <a:ext cx="1432318" cy="451283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8" name="Text Placeholder 10">
            <a:extLst>
              <a:ext uri="{FF2B5EF4-FFF2-40B4-BE49-F238E27FC236}">
                <a16:creationId xmlns:a16="http://schemas.microsoft.com/office/drawing/2014/main" id="{5C122CF5-DACA-4A38-AAE4-D6319E314A1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51114" y="4930788"/>
            <a:ext cx="1191164" cy="451283"/>
          </a:xfrm>
        </p:spPr>
        <p:txBody>
          <a:bodyPr>
            <a:no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87CE9040-DB19-47B0-95D6-DEBA73BFB3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258245" y="4380719"/>
            <a:ext cx="1396873" cy="451283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099E3563-2808-4F00-917D-80269B10B54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42168" y="5167550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61" name="Text Placeholder 10">
            <a:extLst>
              <a:ext uri="{FF2B5EF4-FFF2-40B4-BE49-F238E27FC236}">
                <a16:creationId xmlns:a16="http://schemas.microsoft.com/office/drawing/2014/main" id="{497972F7-E6E7-48F6-979B-BB607FF1A7A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49299" y="4617481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62" name="Text Placeholder 10">
            <a:extLst>
              <a:ext uri="{FF2B5EF4-FFF2-40B4-BE49-F238E27FC236}">
                <a16:creationId xmlns:a16="http://schemas.microsoft.com/office/drawing/2014/main" id="{F710A930-DDFF-47AD-A9FF-6F1F993C0D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11954" y="4964701"/>
            <a:ext cx="1264653" cy="479125"/>
          </a:xfrm>
        </p:spPr>
        <p:txBody>
          <a:bodyPr>
            <a:no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63" name="Text Placeholder 10">
            <a:extLst>
              <a:ext uri="{FF2B5EF4-FFF2-40B4-BE49-F238E27FC236}">
                <a16:creationId xmlns:a16="http://schemas.microsoft.com/office/drawing/2014/main" id="{3C1A8471-813D-41B1-AD59-1420B8AF912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19086" y="4414632"/>
            <a:ext cx="1483052" cy="479125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64" name="Text Placeholder 10">
            <a:extLst>
              <a:ext uri="{FF2B5EF4-FFF2-40B4-BE49-F238E27FC236}">
                <a16:creationId xmlns:a16="http://schemas.microsoft.com/office/drawing/2014/main" id="{48B76107-7A34-4670-9D4F-0BFB923F63E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74282" y="2816857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65" name="Text Placeholder 10">
            <a:extLst>
              <a:ext uri="{FF2B5EF4-FFF2-40B4-BE49-F238E27FC236}">
                <a16:creationId xmlns:a16="http://schemas.microsoft.com/office/drawing/2014/main" id="{F5476A21-DC81-4DC8-AF47-B535FEDE8CC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81413" y="2266788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66" name="Text Placeholder 10">
            <a:extLst>
              <a:ext uri="{FF2B5EF4-FFF2-40B4-BE49-F238E27FC236}">
                <a16:creationId xmlns:a16="http://schemas.microsoft.com/office/drawing/2014/main" id="{F2F14FC6-A77A-4A69-9E8B-297AD8DB96A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42121" y="4972105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67" name="Text Placeholder 10">
            <a:extLst>
              <a:ext uri="{FF2B5EF4-FFF2-40B4-BE49-F238E27FC236}">
                <a16:creationId xmlns:a16="http://schemas.microsoft.com/office/drawing/2014/main" id="{7785BD6F-B52D-40B8-B8E2-6163A35F6D9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241066" y="4454418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2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68" name="Text Placeholder 10">
            <a:extLst>
              <a:ext uri="{FF2B5EF4-FFF2-40B4-BE49-F238E27FC236}">
                <a16:creationId xmlns:a16="http://schemas.microsoft.com/office/drawing/2014/main" id="{B2FFD832-76B9-4508-8D52-DDCB3CDE542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33095" y="2905545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69" name="Text Placeholder 10">
            <a:extLst>
              <a:ext uri="{FF2B5EF4-FFF2-40B4-BE49-F238E27FC236}">
                <a16:creationId xmlns:a16="http://schemas.microsoft.com/office/drawing/2014/main" id="{B3A14EA7-B870-4FF2-9AF2-82E869289BA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2040" y="2387858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2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70" name="Text Placeholder 10">
            <a:extLst>
              <a:ext uri="{FF2B5EF4-FFF2-40B4-BE49-F238E27FC236}">
                <a16:creationId xmlns:a16="http://schemas.microsoft.com/office/drawing/2014/main" id="{992AC45F-6701-4A68-A4B6-AA6420FE515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751279" y="2541551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71" name="Text Placeholder 10">
            <a:extLst>
              <a:ext uri="{FF2B5EF4-FFF2-40B4-BE49-F238E27FC236}">
                <a16:creationId xmlns:a16="http://schemas.microsoft.com/office/drawing/2014/main" id="{59E56022-5B2E-4114-810F-AC3D95667E1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50224" y="2023864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2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74" name="Text Placeholder 10">
            <a:extLst>
              <a:ext uri="{FF2B5EF4-FFF2-40B4-BE49-F238E27FC236}">
                <a16:creationId xmlns:a16="http://schemas.microsoft.com/office/drawing/2014/main" id="{EB0D8EF1-83E2-4204-8607-03ACCAD4184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320868" y="2891121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75" name="Text Placeholder 10">
            <a:extLst>
              <a:ext uri="{FF2B5EF4-FFF2-40B4-BE49-F238E27FC236}">
                <a16:creationId xmlns:a16="http://schemas.microsoft.com/office/drawing/2014/main" id="{B41B9E6E-841D-4501-A1EB-F244BF407E9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219813" y="2373434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2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0548027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58FD6EA7-AC29-4ECA-BF03-E245357AD72A}"/>
              </a:ext>
            </a:extLst>
          </p:cNvPr>
          <p:cNvSpPr/>
          <p:nvPr userDrawn="1"/>
        </p:nvSpPr>
        <p:spPr>
          <a:xfrm>
            <a:off x="7350036" y="1801160"/>
            <a:ext cx="2222094" cy="222209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C1062A1A-B0DC-40DA-BFB2-3BC0B28A6C70}"/>
              </a:ext>
            </a:extLst>
          </p:cNvPr>
          <p:cNvSpPr/>
          <p:nvPr userDrawn="1"/>
        </p:nvSpPr>
        <p:spPr>
          <a:xfrm>
            <a:off x="7046879" y="4210562"/>
            <a:ext cx="2031366" cy="203136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8D55521E-0F7B-4D11-AD78-9FF8EFF7D524}"/>
              </a:ext>
            </a:extLst>
          </p:cNvPr>
          <p:cNvSpPr/>
          <p:nvPr userDrawn="1"/>
        </p:nvSpPr>
        <p:spPr>
          <a:xfrm>
            <a:off x="9333801" y="3606414"/>
            <a:ext cx="2074103" cy="207410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F4EFF120-A7CB-4072-B9B4-A343C2508EE0}"/>
              </a:ext>
            </a:extLst>
          </p:cNvPr>
          <p:cNvSpPr/>
          <p:nvPr userDrawn="1"/>
        </p:nvSpPr>
        <p:spPr>
          <a:xfrm>
            <a:off x="9812181" y="1585519"/>
            <a:ext cx="1690681" cy="169068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6" name="Text Placeholder 10">
            <a:extLst>
              <a:ext uri="{FF2B5EF4-FFF2-40B4-BE49-F238E27FC236}">
                <a16:creationId xmlns:a16="http://schemas.microsoft.com/office/drawing/2014/main" id="{A52255D5-8140-429B-ADEF-9999D45A39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90554" y="3050542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7" name="Text Placeholder 10">
            <a:extLst>
              <a:ext uri="{FF2B5EF4-FFF2-40B4-BE49-F238E27FC236}">
                <a16:creationId xmlns:a16="http://schemas.microsoft.com/office/drawing/2014/main" id="{9DACFCED-BEEF-443A-A881-D9363A6B9B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797685" y="2500473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8" name="Text Placeholder 10">
            <a:extLst>
              <a:ext uri="{FF2B5EF4-FFF2-40B4-BE49-F238E27FC236}">
                <a16:creationId xmlns:a16="http://schemas.microsoft.com/office/drawing/2014/main" id="{5C122CF5-DACA-4A38-AAE4-D6319E314A1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815654" y="4706675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87CE9040-DB19-47B0-95D6-DEBA73BFB3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722785" y="4156606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62" name="Text Placeholder 10">
            <a:extLst>
              <a:ext uri="{FF2B5EF4-FFF2-40B4-BE49-F238E27FC236}">
                <a16:creationId xmlns:a16="http://schemas.microsoft.com/office/drawing/2014/main" id="{F710A930-DDFF-47AD-A9FF-6F1F993C0D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62823" y="5287955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63" name="Text Placeholder 10">
            <a:extLst>
              <a:ext uri="{FF2B5EF4-FFF2-40B4-BE49-F238E27FC236}">
                <a16:creationId xmlns:a16="http://schemas.microsoft.com/office/drawing/2014/main" id="{3C1A8471-813D-41B1-AD59-1420B8AF912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369954" y="4737886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74" name="Text Placeholder 10">
            <a:extLst>
              <a:ext uri="{FF2B5EF4-FFF2-40B4-BE49-F238E27FC236}">
                <a16:creationId xmlns:a16="http://schemas.microsoft.com/office/drawing/2014/main" id="{EB0D8EF1-83E2-4204-8607-03ACCAD4184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075022" y="2538820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75" name="Text Placeholder 10">
            <a:extLst>
              <a:ext uri="{FF2B5EF4-FFF2-40B4-BE49-F238E27FC236}">
                <a16:creationId xmlns:a16="http://schemas.microsoft.com/office/drawing/2014/main" id="{B41B9E6E-841D-4501-A1EB-F244BF407E9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973967" y="2021133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2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17D07F44-D26D-4CDA-B364-B2A791FC05BE}"/>
              </a:ext>
            </a:extLst>
          </p:cNvPr>
          <p:cNvSpPr/>
          <p:nvPr userDrawn="1"/>
        </p:nvSpPr>
        <p:spPr>
          <a:xfrm>
            <a:off x="744194" y="1937982"/>
            <a:ext cx="5801924" cy="408568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744B77EF-4B82-4794-AD3C-E79115911E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5017" y="2536339"/>
            <a:ext cx="5251479" cy="32585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E1DEC835-BE40-455E-B1B9-EAD419FE90E5}"/>
              </a:ext>
            </a:extLst>
          </p:cNvPr>
          <p:cNvSpPr>
            <a:spLocks noGrp="1"/>
          </p:cNvSpPr>
          <p:nvPr>
            <p:ph idx="34" hasCustomPrompt="1"/>
          </p:nvPr>
        </p:nvSpPr>
        <p:spPr>
          <a:xfrm>
            <a:off x="985017" y="2113160"/>
            <a:ext cx="5251479" cy="388823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18673863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99265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17D07F44-D26D-4CDA-B364-B2A791FC05BE}"/>
              </a:ext>
            </a:extLst>
          </p:cNvPr>
          <p:cNvSpPr/>
          <p:nvPr userDrawn="1"/>
        </p:nvSpPr>
        <p:spPr>
          <a:xfrm>
            <a:off x="744194" y="1937982"/>
            <a:ext cx="5801924" cy="408568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744B77EF-4B82-4794-AD3C-E79115911E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5017" y="2536339"/>
            <a:ext cx="5251479" cy="32585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E1DEC835-BE40-455E-B1B9-EAD419FE90E5}"/>
              </a:ext>
            </a:extLst>
          </p:cNvPr>
          <p:cNvSpPr>
            <a:spLocks noGrp="1"/>
          </p:cNvSpPr>
          <p:nvPr>
            <p:ph idx="34" hasCustomPrompt="1"/>
          </p:nvPr>
        </p:nvSpPr>
        <p:spPr>
          <a:xfrm>
            <a:off x="985017" y="2113160"/>
            <a:ext cx="5251479" cy="388823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EEE722D-60AF-4DE6-89C9-C864FC7F2A7C}"/>
              </a:ext>
            </a:extLst>
          </p:cNvPr>
          <p:cNvSpPr/>
          <p:nvPr userDrawn="1"/>
        </p:nvSpPr>
        <p:spPr>
          <a:xfrm>
            <a:off x="9409955" y="3443747"/>
            <a:ext cx="1820335" cy="182033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B311B51-9EFF-4669-968F-F916D45A3E21}"/>
              </a:ext>
            </a:extLst>
          </p:cNvPr>
          <p:cNvSpPr/>
          <p:nvPr userDrawn="1"/>
        </p:nvSpPr>
        <p:spPr>
          <a:xfrm>
            <a:off x="7287273" y="2251650"/>
            <a:ext cx="2019365" cy="201936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F94D8982-EBD9-46E0-A7C1-56A961AEA6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669603" y="3396299"/>
            <a:ext cx="1221726" cy="462862"/>
          </a:xfrm>
        </p:spPr>
        <p:txBody>
          <a:bodyPr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F54F3429-C5B1-4083-B2F9-7DB3F2958A9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576734" y="2846230"/>
            <a:ext cx="1432712" cy="462862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A44D29D9-1DB9-44A3-9425-6EFCA5933E1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709457" y="4479339"/>
            <a:ext cx="1216418" cy="460851"/>
          </a:xfrm>
        </p:spPr>
        <p:txBody>
          <a:bodyPr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1A9F64C-FE7E-4877-9773-3C11ECFD590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616588" y="3929270"/>
            <a:ext cx="1426487" cy="460851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33D0DD55-E08D-4952-B71B-DAD4E36F3EEC}"/>
              </a:ext>
            </a:extLst>
          </p:cNvPr>
          <p:cNvSpPr/>
          <p:nvPr userDrawn="1"/>
        </p:nvSpPr>
        <p:spPr>
          <a:xfrm>
            <a:off x="9297254" y="963561"/>
            <a:ext cx="2091196" cy="209119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DDE29060-D3DB-4630-8D24-E2B0BB51682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759936" y="2123709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2272956E-34C5-4AE5-8BEA-3E2A47D29B6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658881" y="1606022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220048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and key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58FD6EA7-AC29-4ECA-BF03-E245357AD72A}"/>
              </a:ext>
            </a:extLst>
          </p:cNvPr>
          <p:cNvSpPr/>
          <p:nvPr userDrawn="1"/>
        </p:nvSpPr>
        <p:spPr>
          <a:xfrm>
            <a:off x="7350036" y="1801160"/>
            <a:ext cx="2222094" cy="222209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C1062A1A-B0DC-40DA-BFB2-3BC0B28A6C70}"/>
              </a:ext>
            </a:extLst>
          </p:cNvPr>
          <p:cNvSpPr/>
          <p:nvPr userDrawn="1"/>
        </p:nvSpPr>
        <p:spPr>
          <a:xfrm>
            <a:off x="7046879" y="4210562"/>
            <a:ext cx="2031366" cy="203136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8D55521E-0F7B-4D11-AD78-9FF8EFF7D524}"/>
              </a:ext>
            </a:extLst>
          </p:cNvPr>
          <p:cNvSpPr/>
          <p:nvPr userDrawn="1"/>
        </p:nvSpPr>
        <p:spPr>
          <a:xfrm>
            <a:off x="9333801" y="3606414"/>
            <a:ext cx="2074103" cy="207410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F4EFF120-A7CB-4072-B9B4-A343C2508EE0}"/>
              </a:ext>
            </a:extLst>
          </p:cNvPr>
          <p:cNvSpPr/>
          <p:nvPr userDrawn="1"/>
        </p:nvSpPr>
        <p:spPr>
          <a:xfrm>
            <a:off x="9812181" y="1585519"/>
            <a:ext cx="1690681" cy="169068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6" name="Text Placeholder 10">
            <a:extLst>
              <a:ext uri="{FF2B5EF4-FFF2-40B4-BE49-F238E27FC236}">
                <a16:creationId xmlns:a16="http://schemas.microsoft.com/office/drawing/2014/main" id="{A52255D5-8140-429B-ADEF-9999D45A39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90554" y="3050542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7" name="Text Placeholder 10">
            <a:extLst>
              <a:ext uri="{FF2B5EF4-FFF2-40B4-BE49-F238E27FC236}">
                <a16:creationId xmlns:a16="http://schemas.microsoft.com/office/drawing/2014/main" id="{9DACFCED-BEEF-443A-A881-D9363A6B9B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797685" y="2500473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8" name="Text Placeholder 10">
            <a:extLst>
              <a:ext uri="{FF2B5EF4-FFF2-40B4-BE49-F238E27FC236}">
                <a16:creationId xmlns:a16="http://schemas.microsoft.com/office/drawing/2014/main" id="{5C122CF5-DACA-4A38-AAE4-D6319E314A1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815654" y="4706675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87CE9040-DB19-47B0-95D6-DEBA73BFB3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722785" y="4156606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62" name="Text Placeholder 10">
            <a:extLst>
              <a:ext uri="{FF2B5EF4-FFF2-40B4-BE49-F238E27FC236}">
                <a16:creationId xmlns:a16="http://schemas.microsoft.com/office/drawing/2014/main" id="{F710A930-DDFF-47AD-A9FF-6F1F993C0D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62823" y="5287955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63" name="Text Placeholder 10">
            <a:extLst>
              <a:ext uri="{FF2B5EF4-FFF2-40B4-BE49-F238E27FC236}">
                <a16:creationId xmlns:a16="http://schemas.microsoft.com/office/drawing/2014/main" id="{3C1A8471-813D-41B1-AD59-1420B8AF912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369954" y="4737886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74" name="Text Placeholder 10">
            <a:extLst>
              <a:ext uri="{FF2B5EF4-FFF2-40B4-BE49-F238E27FC236}">
                <a16:creationId xmlns:a16="http://schemas.microsoft.com/office/drawing/2014/main" id="{EB0D8EF1-83E2-4204-8607-03ACCAD4184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075022" y="2538820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75" name="Text Placeholder 10">
            <a:extLst>
              <a:ext uri="{FF2B5EF4-FFF2-40B4-BE49-F238E27FC236}">
                <a16:creationId xmlns:a16="http://schemas.microsoft.com/office/drawing/2014/main" id="{B41B9E6E-841D-4501-A1EB-F244BF407E9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973967" y="2021133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2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17D07F44-D26D-4CDA-B364-B2A791FC05BE}"/>
              </a:ext>
            </a:extLst>
          </p:cNvPr>
          <p:cNvSpPr/>
          <p:nvPr userDrawn="1"/>
        </p:nvSpPr>
        <p:spPr>
          <a:xfrm>
            <a:off x="744194" y="1937982"/>
            <a:ext cx="5801924" cy="408568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D06FAFCC-0119-43E8-8D04-594E090D5E6B}"/>
              </a:ext>
            </a:extLst>
          </p:cNvPr>
          <p:cNvSpPr>
            <a:spLocks noGrp="1"/>
          </p:cNvSpPr>
          <p:nvPr>
            <p:ph type="chart" sz="quarter" idx="34"/>
          </p:nvPr>
        </p:nvSpPr>
        <p:spPr>
          <a:xfrm>
            <a:off x="984250" y="2135188"/>
            <a:ext cx="5329238" cy="3665537"/>
          </a:xfrm>
        </p:spPr>
        <p:txBody>
          <a:bodyPr/>
          <a:lstStyle/>
          <a:p>
            <a:r>
              <a:rPr lang="en-US"/>
              <a:t>Click icon to add chart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119575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744B77EF-4B82-4794-AD3C-E79115911E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5017" y="2536339"/>
            <a:ext cx="5251479" cy="32585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E1DEC835-BE40-455E-B1B9-EAD419FE90E5}"/>
              </a:ext>
            </a:extLst>
          </p:cNvPr>
          <p:cNvSpPr>
            <a:spLocks noGrp="1"/>
          </p:cNvSpPr>
          <p:nvPr>
            <p:ph idx="34" hasCustomPrompt="1"/>
          </p:nvPr>
        </p:nvSpPr>
        <p:spPr>
          <a:xfrm>
            <a:off x="985017" y="2113160"/>
            <a:ext cx="5251479" cy="388823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EEE722D-60AF-4DE6-89C9-C864FC7F2A7C}"/>
              </a:ext>
            </a:extLst>
          </p:cNvPr>
          <p:cNvSpPr/>
          <p:nvPr userDrawn="1"/>
        </p:nvSpPr>
        <p:spPr>
          <a:xfrm>
            <a:off x="9409955" y="3443747"/>
            <a:ext cx="1820335" cy="182033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B311B51-9EFF-4669-968F-F916D45A3E21}"/>
              </a:ext>
            </a:extLst>
          </p:cNvPr>
          <p:cNvSpPr/>
          <p:nvPr userDrawn="1"/>
        </p:nvSpPr>
        <p:spPr>
          <a:xfrm>
            <a:off x="7287273" y="2251650"/>
            <a:ext cx="2019365" cy="201936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F94D8982-EBD9-46E0-A7C1-56A961AEA6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669603" y="3396299"/>
            <a:ext cx="1221726" cy="462862"/>
          </a:xfrm>
        </p:spPr>
        <p:txBody>
          <a:bodyPr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F54F3429-C5B1-4083-B2F9-7DB3F2958A9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576734" y="2846230"/>
            <a:ext cx="1432712" cy="462862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A44D29D9-1DB9-44A3-9425-6EFCA5933E1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709457" y="4479339"/>
            <a:ext cx="1216418" cy="460851"/>
          </a:xfrm>
        </p:spPr>
        <p:txBody>
          <a:bodyPr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1A9F64C-FE7E-4877-9773-3C11ECFD590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616588" y="3929270"/>
            <a:ext cx="1426487" cy="460851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33D0DD55-E08D-4952-B71B-DAD4E36F3EEC}"/>
              </a:ext>
            </a:extLst>
          </p:cNvPr>
          <p:cNvSpPr/>
          <p:nvPr userDrawn="1"/>
        </p:nvSpPr>
        <p:spPr>
          <a:xfrm>
            <a:off x="9297254" y="963561"/>
            <a:ext cx="2091196" cy="209119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DDE29060-D3DB-4630-8D24-E2B0BB51682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759936" y="2123709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2272956E-34C5-4AE5-8BEA-3E2A47D29B6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658881" y="1606022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7657762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58FD6EA7-AC29-4ECA-BF03-E245357AD72A}"/>
              </a:ext>
            </a:extLst>
          </p:cNvPr>
          <p:cNvSpPr/>
          <p:nvPr userDrawn="1"/>
        </p:nvSpPr>
        <p:spPr>
          <a:xfrm>
            <a:off x="6745659" y="2249757"/>
            <a:ext cx="2222094" cy="222209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C1062A1A-B0DC-40DA-BFB2-3BC0B28A6C70}"/>
              </a:ext>
            </a:extLst>
          </p:cNvPr>
          <p:cNvSpPr/>
          <p:nvPr userDrawn="1"/>
        </p:nvSpPr>
        <p:spPr>
          <a:xfrm>
            <a:off x="8581980" y="4084798"/>
            <a:ext cx="2031366" cy="203136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8D55521E-0F7B-4D11-AD78-9FF8EFF7D524}"/>
              </a:ext>
            </a:extLst>
          </p:cNvPr>
          <p:cNvSpPr/>
          <p:nvPr userDrawn="1"/>
        </p:nvSpPr>
        <p:spPr>
          <a:xfrm>
            <a:off x="9208679" y="1652428"/>
            <a:ext cx="2328334" cy="2328332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F4EFF120-A7CB-4072-B9B4-A343C2508EE0}"/>
              </a:ext>
            </a:extLst>
          </p:cNvPr>
          <p:cNvSpPr/>
          <p:nvPr userDrawn="1"/>
        </p:nvSpPr>
        <p:spPr>
          <a:xfrm>
            <a:off x="7804780" y="468634"/>
            <a:ext cx="1690681" cy="169068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6" name="Text Placeholder 10">
            <a:extLst>
              <a:ext uri="{FF2B5EF4-FFF2-40B4-BE49-F238E27FC236}">
                <a16:creationId xmlns:a16="http://schemas.microsoft.com/office/drawing/2014/main" id="{A52255D5-8140-429B-ADEF-9999D45A39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86177" y="3431381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7" name="Text Placeholder 10">
            <a:extLst>
              <a:ext uri="{FF2B5EF4-FFF2-40B4-BE49-F238E27FC236}">
                <a16:creationId xmlns:a16="http://schemas.microsoft.com/office/drawing/2014/main" id="{9DACFCED-BEEF-443A-A881-D9363A6B9B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93308" y="2908126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8" name="Text Placeholder 10">
            <a:extLst>
              <a:ext uri="{FF2B5EF4-FFF2-40B4-BE49-F238E27FC236}">
                <a16:creationId xmlns:a16="http://schemas.microsoft.com/office/drawing/2014/main" id="{5C122CF5-DACA-4A38-AAE4-D6319E314A1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690532" y="2953930"/>
            <a:ext cx="1280922" cy="485289"/>
          </a:xfrm>
        </p:spPr>
        <p:txBody>
          <a:bodyPr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87CE9040-DB19-47B0-95D6-DEBA73BFB3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97663" y="2403861"/>
            <a:ext cx="1502131" cy="485289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62" name="Text Placeholder 10">
            <a:extLst>
              <a:ext uri="{FF2B5EF4-FFF2-40B4-BE49-F238E27FC236}">
                <a16:creationId xmlns:a16="http://schemas.microsoft.com/office/drawing/2014/main" id="{F710A930-DDFF-47AD-A9FF-6F1F993C0D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997924" y="5162191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63" name="Text Placeholder 10">
            <a:extLst>
              <a:ext uri="{FF2B5EF4-FFF2-40B4-BE49-F238E27FC236}">
                <a16:creationId xmlns:a16="http://schemas.microsoft.com/office/drawing/2014/main" id="{3C1A8471-813D-41B1-AD59-1420B8AF912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905055" y="4612122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74" name="Text Placeholder 10">
            <a:extLst>
              <a:ext uri="{FF2B5EF4-FFF2-40B4-BE49-F238E27FC236}">
                <a16:creationId xmlns:a16="http://schemas.microsoft.com/office/drawing/2014/main" id="{EB0D8EF1-83E2-4204-8607-03ACCAD4184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067621" y="1421935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75" name="Text Placeholder 10">
            <a:extLst>
              <a:ext uri="{FF2B5EF4-FFF2-40B4-BE49-F238E27FC236}">
                <a16:creationId xmlns:a16="http://schemas.microsoft.com/office/drawing/2014/main" id="{B41B9E6E-841D-4501-A1EB-F244BF407E9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966566" y="904248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2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427E6CB8-8F93-4F47-B74B-CD2576C31C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4194" y="1693177"/>
            <a:ext cx="5213811" cy="402580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78516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D8CE62B5-4A7D-4102-BEB0-A7E5264C9C0A}"/>
              </a:ext>
            </a:extLst>
          </p:cNvPr>
          <p:cNvSpPr/>
          <p:nvPr userDrawn="1"/>
        </p:nvSpPr>
        <p:spPr>
          <a:xfrm>
            <a:off x="8873888" y="3365091"/>
            <a:ext cx="2514562" cy="251456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7C8834FF-F9C6-4AB2-A234-D6A4A638E1BC}"/>
              </a:ext>
            </a:extLst>
          </p:cNvPr>
          <p:cNvSpPr/>
          <p:nvPr userDrawn="1"/>
        </p:nvSpPr>
        <p:spPr>
          <a:xfrm>
            <a:off x="7020233" y="1929056"/>
            <a:ext cx="2153835" cy="215383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C06142BE-4026-42A0-BB0F-3A65DC668D8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79757" y="3137725"/>
            <a:ext cx="1385179" cy="524788"/>
          </a:xfrm>
        </p:spPr>
        <p:txBody>
          <a:bodyPr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04B298B0-503C-4A96-9416-D553388A05C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58661" y="2587656"/>
            <a:ext cx="1624392" cy="524788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8" name="Text Placeholder 10">
            <a:extLst>
              <a:ext uri="{FF2B5EF4-FFF2-40B4-BE49-F238E27FC236}">
                <a16:creationId xmlns:a16="http://schemas.microsoft.com/office/drawing/2014/main" id="{5C122CF5-DACA-4A38-AAE4-D6319E314A1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40846" y="4802713"/>
            <a:ext cx="1680328" cy="636607"/>
          </a:xfrm>
        </p:spPr>
        <p:txBody>
          <a:bodyPr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87CE9040-DB19-47B0-95D6-DEBA73BFB3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97015" y="4125644"/>
            <a:ext cx="1970512" cy="636608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FFD8C0FC-224E-44AE-9A65-0C145F1AE3B4}"/>
              </a:ext>
            </a:extLst>
          </p:cNvPr>
          <p:cNvSpPr/>
          <p:nvPr userDrawn="1"/>
        </p:nvSpPr>
        <p:spPr>
          <a:xfrm>
            <a:off x="9276818" y="893717"/>
            <a:ext cx="2292931" cy="229293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74" name="Text Placeholder 10">
            <a:extLst>
              <a:ext uri="{FF2B5EF4-FFF2-40B4-BE49-F238E27FC236}">
                <a16:creationId xmlns:a16="http://schemas.microsoft.com/office/drawing/2014/main" id="{EB0D8EF1-83E2-4204-8607-03ACCAD4184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760928" y="2153674"/>
            <a:ext cx="1251133" cy="474003"/>
          </a:xfrm>
        </p:spPr>
        <p:txBody>
          <a:bodyPr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75" name="Text Placeholder 10">
            <a:extLst>
              <a:ext uri="{FF2B5EF4-FFF2-40B4-BE49-F238E27FC236}">
                <a16:creationId xmlns:a16="http://schemas.microsoft.com/office/drawing/2014/main" id="{B41B9E6E-841D-4501-A1EB-F244BF407E9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665626" y="1597887"/>
            <a:ext cx="1467198" cy="474003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36ED6CC-1C9D-41BB-9872-CC6C407E31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4194" y="1693177"/>
            <a:ext cx="5857449" cy="402580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80269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FA02EF27-A0AF-4293-9B5E-F8C9239AD2E9}"/>
              </a:ext>
            </a:extLst>
          </p:cNvPr>
          <p:cNvSpPr/>
          <p:nvPr userDrawn="1"/>
        </p:nvSpPr>
        <p:spPr>
          <a:xfrm>
            <a:off x="7249715" y="931614"/>
            <a:ext cx="1515234" cy="151523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D8CE62B5-4A7D-4102-BEB0-A7E5264C9C0A}"/>
              </a:ext>
            </a:extLst>
          </p:cNvPr>
          <p:cNvSpPr/>
          <p:nvPr userDrawn="1"/>
        </p:nvSpPr>
        <p:spPr>
          <a:xfrm>
            <a:off x="9819033" y="3316862"/>
            <a:ext cx="1707561" cy="170756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6" name="Text Placeholder 10">
            <a:extLst>
              <a:ext uri="{FF2B5EF4-FFF2-40B4-BE49-F238E27FC236}">
                <a16:creationId xmlns:a16="http://schemas.microsoft.com/office/drawing/2014/main" id="{A52255D5-8140-429B-ADEF-9999D45A39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38074" y="1811302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7" name="Text Placeholder 10">
            <a:extLst>
              <a:ext uri="{FF2B5EF4-FFF2-40B4-BE49-F238E27FC236}">
                <a16:creationId xmlns:a16="http://schemas.microsoft.com/office/drawing/2014/main" id="{9DACFCED-BEEF-443A-A881-D9363A6B9B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17795" y="1336800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7C8834FF-F9C6-4AB2-A234-D6A4A638E1BC}"/>
              </a:ext>
            </a:extLst>
          </p:cNvPr>
          <p:cNvSpPr/>
          <p:nvPr userDrawn="1"/>
        </p:nvSpPr>
        <p:spPr>
          <a:xfrm>
            <a:off x="7586750" y="2688168"/>
            <a:ext cx="1886030" cy="188603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C06142BE-4026-42A0-BB0F-3A65DC668D8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969079" y="3730044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04B298B0-503C-4A96-9416-D553388A05C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876210" y="3179975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8" name="Text Placeholder 10">
            <a:extLst>
              <a:ext uri="{FF2B5EF4-FFF2-40B4-BE49-F238E27FC236}">
                <a16:creationId xmlns:a16="http://schemas.microsoft.com/office/drawing/2014/main" id="{5C122CF5-DACA-4A38-AAE4-D6319E314A1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18535" y="4268231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87CE9040-DB19-47B0-95D6-DEBA73BFB3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025666" y="3718162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FFD8C0FC-224E-44AE-9A65-0C145F1AE3B4}"/>
              </a:ext>
            </a:extLst>
          </p:cNvPr>
          <p:cNvSpPr/>
          <p:nvPr userDrawn="1"/>
        </p:nvSpPr>
        <p:spPr>
          <a:xfrm>
            <a:off x="9297254" y="963561"/>
            <a:ext cx="2091196" cy="209119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74" name="Text Placeholder 10">
            <a:extLst>
              <a:ext uri="{FF2B5EF4-FFF2-40B4-BE49-F238E27FC236}">
                <a16:creationId xmlns:a16="http://schemas.microsoft.com/office/drawing/2014/main" id="{EB0D8EF1-83E2-4204-8607-03ACCAD4184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759936" y="2135237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75" name="Text Placeholder 10">
            <a:extLst>
              <a:ext uri="{FF2B5EF4-FFF2-40B4-BE49-F238E27FC236}">
                <a16:creationId xmlns:a16="http://schemas.microsoft.com/office/drawing/2014/main" id="{B41B9E6E-841D-4501-A1EB-F244BF407E9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658881" y="1606022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36ED6CC-1C9D-41BB-9872-CC6C407E31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4194" y="1693177"/>
            <a:ext cx="5857449" cy="402580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33865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FA02EF27-A0AF-4293-9B5E-F8C9239AD2E9}"/>
              </a:ext>
            </a:extLst>
          </p:cNvPr>
          <p:cNvSpPr/>
          <p:nvPr userDrawn="1"/>
        </p:nvSpPr>
        <p:spPr>
          <a:xfrm>
            <a:off x="7427634" y="678455"/>
            <a:ext cx="1515234" cy="151523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D8CE62B5-4A7D-4102-BEB0-A7E5264C9C0A}"/>
              </a:ext>
            </a:extLst>
          </p:cNvPr>
          <p:cNvSpPr/>
          <p:nvPr userDrawn="1"/>
        </p:nvSpPr>
        <p:spPr>
          <a:xfrm>
            <a:off x="8468186" y="4341775"/>
            <a:ext cx="1707561" cy="170756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6" name="Text Placeholder 10">
            <a:extLst>
              <a:ext uri="{FF2B5EF4-FFF2-40B4-BE49-F238E27FC236}">
                <a16:creationId xmlns:a16="http://schemas.microsoft.com/office/drawing/2014/main" id="{A52255D5-8140-429B-ADEF-9999D45A39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15993" y="1558143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7" name="Text Placeholder 10">
            <a:extLst>
              <a:ext uri="{FF2B5EF4-FFF2-40B4-BE49-F238E27FC236}">
                <a16:creationId xmlns:a16="http://schemas.microsoft.com/office/drawing/2014/main" id="{9DACFCED-BEEF-443A-A881-D9363A6B9B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95714" y="1083641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7C8834FF-F9C6-4AB2-A234-D6A4A638E1BC}"/>
              </a:ext>
            </a:extLst>
          </p:cNvPr>
          <p:cNvSpPr/>
          <p:nvPr userDrawn="1"/>
        </p:nvSpPr>
        <p:spPr>
          <a:xfrm>
            <a:off x="7537334" y="2451949"/>
            <a:ext cx="1886030" cy="188603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C06142BE-4026-42A0-BB0F-3A65DC668D8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919663" y="3503389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04B298B0-503C-4A96-9416-D553388A05C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826794" y="2943756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8" name="Text Placeholder 10">
            <a:extLst>
              <a:ext uri="{FF2B5EF4-FFF2-40B4-BE49-F238E27FC236}">
                <a16:creationId xmlns:a16="http://schemas.microsoft.com/office/drawing/2014/main" id="{5C122CF5-DACA-4A38-AAE4-D6319E314A1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67688" y="5293144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87CE9040-DB19-47B0-95D6-DEBA73BFB3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74819" y="4743075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FFD8C0FC-224E-44AE-9A65-0C145F1AE3B4}"/>
              </a:ext>
            </a:extLst>
          </p:cNvPr>
          <p:cNvSpPr/>
          <p:nvPr userDrawn="1"/>
        </p:nvSpPr>
        <p:spPr>
          <a:xfrm>
            <a:off x="9210757" y="889420"/>
            <a:ext cx="2091196" cy="209119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74" name="Text Placeholder 10">
            <a:extLst>
              <a:ext uri="{FF2B5EF4-FFF2-40B4-BE49-F238E27FC236}">
                <a16:creationId xmlns:a16="http://schemas.microsoft.com/office/drawing/2014/main" id="{EB0D8EF1-83E2-4204-8607-03ACCAD4184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673439" y="2062977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75" name="Text Placeholder 10">
            <a:extLst>
              <a:ext uri="{FF2B5EF4-FFF2-40B4-BE49-F238E27FC236}">
                <a16:creationId xmlns:a16="http://schemas.microsoft.com/office/drawing/2014/main" id="{B41B9E6E-841D-4501-A1EB-F244BF407E9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72384" y="1531881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36ED6CC-1C9D-41BB-9872-CC6C407E31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4194" y="1693177"/>
            <a:ext cx="5857449" cy="402580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217BF73A-FA5A-42DA-92D6-938EA05F486B}"/>
              </a:ext>
            </a:extLst>
          </p:cNvPr>
          <p:cNvSpPr/>
          <p:nvPr userDrawn="1"/>
        </p:nvSpPr>
        <p:spPr>
          <a:xfrm>
            <a:off x="9922889" y="3090111"/>
            <a:ext cx="1515234" cy="151523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E45A380A-A117-4A61-8B9C-003585B6F6A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111248" y="3969799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D9CB9C4A-CD4D-4323-8952-408D2EBF270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990969" y="3495297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08716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1FB0EA4-5487-493D-A224-9F30A742575C}"/>
              </a:ext>
            </a:extLst>
          </p:cNvPr>
          <p:cNvSpPr/>
          <p:nvPr userDrawn="1"/>
        </p:nvSpPr>
        <p:spPr>
          <a:xfrm>
            <a:off x="3420890" y="3020104"/>
            <a:ext cx="2511279" cy="271429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0410AB08-086E-4383-BEDC-8F22084CC216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630426" y="3502617"/>
            <a:ext cx="2079146" cy="20385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6832ED4-58C9-4304-87C2-FF58E3890C61}"/>
              </a:ext>
            </a:extLst>
          </p:cNvPr>
          <p:cNvSpPr/>
          <p:nvPr userDrawn="1"/>
        </p:nvSpPr>
        <p:spPr>
          <a:xfrm>
            <a:off x="6097586" y="2602335"/>
            <a:ext cx="2511279" cy="313206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0" name="Content Placeholder 2">
            <a:extLst>
              <a:ext uri="{FF2B5EF4-FFF2-40B4-BE49-F238E27FC236}">
                <a16:creationId xmlns:a16="http://schemas.microsoft.com/office/drawing/2014/main" id="{54A97C03-1B1F-4ABC-A3D8-10A90E30D5ED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07122" y="3084163"/>
            <a:ext cx="2079146" cy="245697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539F244-89D8-4944-9829-6B172DD68DF1}"/>
              </a:ext>
            </a:extLst>
          </p:cNvPr>
          <p:cNvSpPr/>
          <p:nvPr userDrawn="1"/>
        </p:nvSpPr>
        <p:spPr>
          <a:xfrm>
            <a:off x="8774282" y="2114939"/>
            <a:ext cx="2511279" cy="361945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2" name="Content Placeholder 2">
            <a:extLst>
              <a:ext uri="{FF2B5EF4-FFF2-40B4-BE49-F238E27FC236}">
                <a16:creationId xmlns:a16="http://schemas.microsoft.com/office/drawing/2014/main" id="{B933CDA2-27FB-4BAE-9F4A-A4A0BB453A6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983818" y="2572719"/>
            <a:ext cx="2079146" cy="296842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23AB3C93-AE77-4701-A6FA-1C943ED2F0EF}"/>
              </a:ext>
            </a:extLst>
          </p:cNvPr>
          <p:cNvSpPr/>
          <p:nvPr userDrawn="1"/>
        </p:nvSpPr>
        <p:spPr>
          <a:xfrm>
            <a:off x="744195" y="3431380"/>
            <a:ext cx="2511279" cy="228760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bg1"/>
              </a:solidFill>
            </a:endParaRPr>
          </a:p>
        </p:txBody>
      </p:sp>
      <p:sp>
        <p:nvSpPr>
          <p:cNvPr id="44" name="Content Placeholder 2">
            <a:extLst>
              <a:ext uri="{FF2B5EF4-FFF2-40B4-BE49-F238E27FC236}">
                <a16:creationId xmlns:a16="http://schemas.microsoft.com/office/drawing/2014/main" id="{FD436C30-DEE5-48B6-BB55-6BEF5941B7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53731" y="3905573"/>
            <a:ext cx="2079146" cy="1620154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4"/>
                </a:solidFill>
              </a:defRPr>
            </a:lvl3pPr>
            <a:lvl4pPr>
              <a:defRPr>
                <a:solidFill>
                  <a:schemeClr val="accent4"/>
                </a:solidFill>
              </a:defRPr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4FA8EADF-14C8-49D0-A463-11AA1E8766E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953731" y="3557565"/>
            <a:ext cx="2079146" cy="334297"/>
          </a:xfrm>
        </p:spPr>
        <p:txBody>
          <a:bodyPr/>
          <a:lstStyle>
            <a:lvl1pPr marL="0" indent="0">
              <a:buNone/>
              <a:defRPr b="1">
                <a:solidFill>
                  <a:schemeClr val="accent4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4"/>
                </a:solidFill>
              </a:defRPr>
            </a:lvl3pPr>
            <a:lvl4pPr>
              <a:defRPr>
                <a:solidFill>
                  <a:schemeClr val="accent4"/>
                </a:solidFill>
              </a:defRPr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48" name="Content Placeholder 2">
            <a:extLst>
              <a:ext uri="{FF2B5EF4-FFF2-40B4-BE49-F238E27FC236}">
                <a16:creationId xmlns:a16="http://schemas.microsoft.com/office/drawing/2014/main" id="{72AC3FFE-E4DB-4CD9-9E96-4C46BF367C76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630426" y="3165897"/>
            <a:ext cx="2079146" cy="314632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EA547CD8-01F0-4B82-9D9A-357EE49D068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307122" y="2740006"/>
            <a:ext cx="2079146" cy="334296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50" name="Content Placeholder 2">
            <a:extLst>
              <a:ext uri="{FF2B5EF4-FFF2-40B4-BE49-F238E27FC236}">
                <a16:creationId xmlns:a16="http://schemas.microsoft.com/office/drawing/2014/main" id="{3C6C90B7-72A2-4F62-82E2-D7E74483A8A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983818" y="2245179"/>
            <a:ext cx="2079146" cy="334296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6410181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211BD83-C7AC-483B-B986-D188B970B5C6}"/>
              </a:ext>
            </a:extLst>
          </p:cNvPr>
          <p:cNvSpPr/>
          <p:nvPr userDrawn="1"/>
        </p:nvSpPr>
        <p:spPr>
          <a:xfrm>
            <a:off x="744195" y="3431380"/>
            <a:ext cx="2511279" cy="252028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bg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1FB0EA4-5487-493D-A224-9F30A742575C}"/>
              </a:ext>
            </a:extLst>
          </p:cNvPr>
          <p:cNvSpPr/>
          <p:nvPr userDrawn="1"/>
        </p:nvSpPr>
        <p:spPr>
          <a:xfrm>
            <a:off x="3420891" y="3020103"/>
            <a:ext cx="2511279" cy="293155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bg1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6832ED4-58C9-4304-87C2-FF58E3890C61}"/>
              </a:ext>
            </a:extLst>
          </p:cNvPr>
          <p:cNvSpPr/>
          <p:nvPr userDrawn="1"/>
        </p:nvSpPr>
        <p:spPr>
          <a:xfrm>
            <a:off x="6097587" y="2602335"/>
            <a:ext cx="2511279" cy="33493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bg1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539F244-89D8-4944-9829-6B172DD68DF1}"/>
              </a:ext>
            </a:extLst>
          </p:cNvPr>
          <p:cNvSpPr/>
          <p:nvPr userDrawn="1"/>
        </p:nvSpPr>
        <p:spPr>
          <a:xfrm>
            <a:off x="8774282" y="2114939"/>
            <a:ext cx="2511279" cy="383672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bg1"/>
              </a:solidFill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3545657-A94F-42DC-ABE8-86D4839E245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630426" y="3539613"/>
            <a:ext cx="2079146" cy="22220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1EDB936-D1F9-4A29-B648-F605F68D96FD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07122" y="3146323"/>
            <a:ext cx="2079146" cy="26153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29A70263-86C7-4EEA-BD2D-CA4B2A8AEEDC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983818" y="2635044"/>
            <a:ext cx="2079146" cy="312665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7A6423B-DC1F-44E0-A02C-3513C5B15F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53731" y="3935437"/>
            <a:ext cx="2079146" cy="18262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611ED387-E1BD-4866-A1BF-DA87822731C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953731" y="3601140"/>
            <a:ext cx="2079146" cy="334297"/>
          </a:xfr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4"/>
                </a:solidFill>
              </a:defRPr>
            </a:lvl3pPr>
            <a:lvl4pPr>
              <a:defRPr>
                <a:solidFill>
                  <a:schemeClr val="accent4"/>
                </a:solidFill>
              </a:defRPr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55C45676-5319-4A27-98D5-F2AA06A042D2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630426" y="3188757"/>
            <a:ext cx="2079146" cy="314632"/>
          </a:xfr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C307A643-C86C-40C7-9CFC-73FA82A91CB0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307122" y="2762866"/>
            <a:ext cx="2079146" cy="334296"/>
          </a:xfr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118D02DF-5127-4861-9CAB-ADCBCF52F74E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983818" y="2268039"/>
            <a:ext cx="2079146" cy="334296"/>
          </a:xfr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8188144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40E03E7-8D61-48C7-B7AE-6016DF8F4B23}"/>
              </a:ext>
            </a:extLst>
          </p:cNvPr>
          <p:cNvSpPr/>
          <p:nvPr userDrawn="1"/>
        </p:nvSpPr>
        <p:spPr>
          <a:xfrm>
            <a:off x="744193" y="2840491"/>
            <a:ext cx="2532049" cy="30490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4"/>
              </a:solidFill>
            </a:endParaRP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CCCF2ADA-E545-4BCE-821B-44535420EFB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53726" y="3323303"/>
            <a:ext cx="2108671" cy="2329201"/>
          </a:xfrm>
        </p:spPr>
        <p:txBody>
          <a:bodyPr/>
          <a:lstStyle>
            <a:lvl1pPr algn="l">
              <a:defRPr>
                <a:solidFill>
                  <a:schemeClr val="accent4"/>
                </a:solidFill>
              </a:defRPr>
            </a:lvl1pPr>
            <a:lvl2pPr algn="l">
              <a:defRPr>
                <a:solidFill>
                  <a:schemeClr val="accent4"/>
                </a:solidFill>
              </a:defRPr>
            </a:lvl2pPr>
            <a:lvl3pPr algn="l">
              <a:defRPr>
                <a:solidFill>
                  <a:schemeClr val="accent4"/>
                </a:solidFill>
              </a:defRPr>
            </a:lvl3pPr>
            <a:lvl4pPr algn="l">
              <a:defRPr>
                <a:solidFill>
                  <a:schemeClr val="accent4"/>
                </a:solidFill>
              </a:defRPr>
            </a:lvl4pPr>
            <a:lvl5pPr algn="l"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dirty="0"/>
              <a:t>Edit Master text </a:t>
            </a:r>
            <a:r>
              <a:rPr lang="en-US" dirty="0" err="1"/>
              <a:t>stylese</a:t>
            </a:r>
            <a:endParaRPr lang="en-US" dirty="0"/>
          </a:p>
          <a:p>
            <a:pPr lvl="1"/>
            <a:r>
              <a:rPr lang="en-US" dirty="0"/>
              <a:t>Second </a:t>
            </a:r>
            <a:r>
              <a:rPr lang="en-US" dirty="0" err="1"/>
              <a:t>lvel</a:t>
            </a:r>
            <a:endParaRPr lang="en-US" dirty="0"/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90CCDAA-8F2C-4FC6-826B-13964F858B90}"/>
              </a:ext>
            </a:extLst>
          </p:cNvPr>
          <p:cNvSpPr/>
          <p:nvPr userDrawn="1"/>
        </p:nvSpPr>
        <p:spPr>
          <a:xfrm>
            <a:off x="3426878" y="2840491"/>
            <a:ext cx="2532049" cy="30490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4"/>
              </a:solidFill>
            </a:endParaRP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EEDCFFD5-8A85-4295-AE20-75C4F237A0F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621567" y="3323303"/>
            <a:ext cx="2108671" cy="2329202"/>
          </a:xfrm>
        </p:spPr>
        <p:txBody>
          <a:bodyPr/>
          <a:lstStyle>
            <a:lvl1pPr algn="l">
              <a:defRPr>
                <a:solidFill>
                  <a:schemeClr val="accent4"/>
                </a:solidFill>
              </a:defRPr>
            </a:lvl1pPr>
            <a:lvl2pPr algn="l">
              <a:defRPr>
                <a:solidFill>
                  <a:schemeClr val="accent4"/>
                </a:solidFill>
              </a:defRPr>
            </a:lvl2pPr>
            <a:lvl3pPr algn="l">
              <a:defRPr>
                <a:solidFill>
                  <a:schemeClr val="accent4"/>
                </a:solidFill>
              </a:defRPr>
            </a:lvl3pPr>
            <a:lvl4pPr algn="l">
              <a:defRPr>
                <a:solidFill>
                  <a:schemeClr val="accent4"/>
                </a:solidFill>
              </a:defRPr>
            </a:lvl4pPr>
            <a:lvl5pPr algn="l"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CF7AE05-68AB-4C39-A4BF-178658909074}"/>
              </a:ext>
            </a:extLst>
          </p:cNvPr>
          <p:cNvSpPr/>
          <p:nvPr userDrawn="1"/>
        </p:nvSpPr>
        <p:spPr>
          <a:xfrm>
            <a:off x="6109563" y="2840491"/>
            <a:ext cx="2532049" cy="30490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4"/>
              </a:solidFill>
            </a:endParaRP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19909D8-94AE-400D-B3CF-526109D1468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07120" y="3323303"/>
            <a:ext cx="2108671" cy="2329202"/>
          </a:xfrm>
        </p:spPr>
        <p:txBody>
          <a:bodyPr/>
          <a:lstStyle>
            <a:lvl1pPr algn="l">
              <a:defRPr>
                <a:solidFill>
                  <a:schemeClr val="accent4"/>
                </a:solidFill>
              </a:defRPr>
            </a:lvl1pPr>
            <a:lvl2pPr algn="l">
              <a:defRPr>
                <a:solidFill>
                  <a:schemeClr val="accent4"/>
                </a:solidFill>
              </a:defRPr>
            </a:lvl2pPr>
            <a:lvl3pPr algn="l">
              <a:defRPr>
                <a:solidFill>
                  <a:schemeClr val="accent4"/>
                </a:solidFill>
              </a:defRPr>
            </a:lvl3pPr>
            <a:lvl4pPr algn="l">
              <a:defRPr>
                <a:solidFill>
                  <a:schemeClr val="accent4"/>
                </a:solidFill>
              </a:defRPr>
            </a:lvl4pPr>
            <a:lvl5pPr algn="l"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91A0899-40C6-49F4-99F0-8EE3E47EF49C}"/>
              </a:ext>
            </a:extLst>
          </p:cNvPr>
          <p:cNvSpPr/>
          <p:nvPr userDrawn="1"/>
        </p:nvSpPr>
        <p:spPr>
          <a:xfrm>
            <a:off x="8792248" y="2851048"/>
            <a:ext cx="2532049" cy="30490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4"/>
              </a:solidFill>
            </a:endParaRP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FCC3B421-83C6-4D91-AE6F-C05CA30092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001781" y="3323302"/>
            <a:ext cx="2108671" cy="2340442"/>
          </a:xfrm>
        </p:spPr>
        <p:txBody>
          <a:bodyPr/>
          <a:lstStyle>
            <a:lvl1pPr algn="l">
              <a:defRPr>
                <a:solidFill>
                  <a:schemeClr val="accent4"/>
                </a:solidFill>
              </a:defRPr>
            </a:lvl1pPr>
            <a:lvl2pPr algn="l">
              <a:defRPr>
                <a:solidFill>
                  <a:schemeClr val="accent4"/>
                </a:solidFill>
              </a:defRPr>
            </a:lvl2pPr>
            <a:lvl3pPr algn="l">
              <a:defRPr>
                <a:solidFill>
                  <a:schemeClr val="accent4"/>
                </a:solidFill>
              </a:defRPr>
            </a:lvl3pPr>
            <a:lvl4pPr algn="l">
              <a:defRPr>
                <a:solidFill>
                  <a:schemeClr val="accent4"/>
                </a:solidFill>
              </a:defRPr>
            </a:lvl4pPr>
            <a:lvl5pPr algn="l"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8393F90A-395C-49C3-9F39-67D7AB85DFE1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953726" y="3008671"/>
            <a:ext cx="2108671" cy="314631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accent4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00630A6C-B025-4079-8E94-E998AD780BF9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621567" y="3008671"/>
            <a:ext cx="2108671" cy="314631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accent4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FB4E1BF5-C79D-447D-B663-36266A3AFDB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302350" y="3008671"/>
            <a:ext cx="2108671" cy="314631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accent4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3BEB8FE9-FDBA-4F07-8257-74471F9F4CDF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01781" y="3008671"/>
            <a:ext cx="2108671" cy="314631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accent4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9013461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6237170" y="1693177"/>
            <a:ext cx="5213811" cy="402580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4194" y="1693177"/>
            <a:ext cx="5213811" cy="402580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8A2EAC1-435E-432C-815D-BADCBE31B728}"/>
              </a:ext>
            </a:extLst>
          </p:cNvPr>
          <p:cNvSpPr/>
          <p:nvPr userDrawn="1"/>
        </p:nvSpPr>
        <p:spPr>
          <a:xfrm>
            <a:off x="744193" y="2840491"/>
            <a:ext cx="2532049" cy="304903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0F15C6E-8955-48B1-B9C7-55AFAFB3A6A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53726" y="3323303"/>
            <a:ext cx="2108671" cy="2329201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l"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</a:t>
            </a:r>
            <a:r>
              <a:rPr lang="en-US" dirty="0" err="1"/>
              <a:t>stylese</a:t>
            </a:r>
            <a:endParaRPr lang="en-US" dirty="0"/>
          </a:p>
          <a:p>
            <a:pPr lvl="1"/>
            <a:r>
              <a:rPr lang="en-US" dirty="0"/>
              <a:t>Second </a:t>
            </a:r>
            <a:r>
              <a:rPr lang="en-US" dirty="0" err="1"/>
              <a:t>lvel</a:t>
            </a:r>
            <a:endParaRPr lang="en-US" dirty="0"/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908A287-2AA8-4033-82B8-1C960F62A2A8}"/>
              </a:ext>
            </a:extLst>
          </p:cNvPr>
          <p:cNvSpPr/>
          <p:nvPr userDrawn="1"/>
        </p:nvSpPr>
        <p:spPr>
          <a:xfrm>
            <a:off x="3426878" y="2840491"/>
            <a:ext cx="2532049" cy="304903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E7FCA96D-EC4A-4FF8-B44B-AFD6F97190EC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621567" y="3323303"/>
            <a:ext cx="2108671" cy="2329202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l"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3EC4516-F5C6-4436-A033-B9F32B8AFA65}"/>
              </a:ext>
            </a:extLst>
          </p:cNvPr>
          <p:cNvSpPr/>
          <p:nvPr userDrawn="1"/>
        </p:nvSpPr>
        <p:spPr>
          <a:xfrm>
            <a:off x="6109563" y="2840491"/>
            <a:ext cx="2532049" cy="304903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90A17DFF-D853-4561-B1E4-D0894C0E30A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07120" y="3323303"/>
            <a:ext cx="2108671" cy="2329202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l"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4ABD017-16F8-430C-B74C-3CDE477E76DA}"/>
              </a:ext>
            </a:extLst>
          </p:cNvPr>
          <p:cNvSpPr/>
          <p:nvPr userDrawn="1"/>
        </p:nvSpPr>
        <p:spPr>
          <a:xfrm>
            <a:off x="8792248" y="2851048"/>
            <a:ext cx="2532049" cy="304903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A2F80CCF-5B6B-41B2-A52B-5EC6284CA2D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001781" y="3323302"/>
            <a:ext cx="2108671" cy="2340442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l"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D77A91BA-D84E-4296-A1AA-ED3366BD880B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953726" y="3008671"/>
            <a:ext cx="2108671" cy="285135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accent5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C9FBF5A7-9DA9-4FA6-9790-09E5A981C4A7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621567" y="3008671"/>
            <a:ext cx="2108671" cy="285135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accent5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EFA5F875-1F7F-4634-B8F8-5A81DFDF9D9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302350" y="3008671"/>
            <a:ext cx="2108671" cy="285135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accent5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F77E1457-59D5-44F9-9B0E-22911A427D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01781" y="3008671"/>
            <a:ext cx="2108671" cy="285135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accent5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439166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1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211BD83-C7AC-483B-B986-D188B970B5C6}"/>
              </a:ext>
            </a:extLst>
          </p:cNvPr>
          <p:cNvSpPr/>
          <p:nvPr userDrawn="1"/>
        </p:nvSpPr>
        <p:spPr>
          <a:xfrm>
            <a:off x="744194" y="3411020"/>
            <a:ext cx="2449200" cy="229313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53726" y="3842536"/>
            <a:ext cx="2039675" cy="16683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313FD5E-6F41-41D9-A887-8A5D83F99F59}"/>
              </a:ext>
            </a:extLst>
          </p:cNvPr>
          <p:cNvSpPr/>
          <p:nvPr userDrawn="1"/>
        </p:nvSpPr>
        <p:spPr>
          <a:xfrm>
            <a:off x="3426879" y="3411020"/>
            <a:ext cx="2449200" cy="229313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B9B15EFD-202A-4D93-B451-4075A497929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621567" y="3842535"/>
            <a:ext cx="2039675" cy="166836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026BBED-286C-4F22-9ADB-9F3F0248D5DE}"/>
              </a:ext>
            </a:extLst>
          </p:cNvPr>
          <p:cNvSpPr/>
          <p:nvPr userDrawn="1"/>
        </p:nvSpPr>
        <p:spPr>
          <a:xfrm>
            <a:off x="6109564" y="3411020"/>
            <a:ext cx="2449200" cy="229313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9ED039B-E90C-4759-8A3A-27CDA513FD0D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07120" y="3842535"/>
            <a:ext cx="2039675" cy="166836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FEFD930E-49AE-4B85-9258-40BB0D132C41}"/>
              </a:ext>
            </a:extLst>
          </p:cNvPr>
          <p:cNvSpPr/>
          <p:nvPr userDrawn="1"/>
        </p:nvSpPr>
        <p:spPr>
          <a:xfrm>
            <a:off x="8792249" y="3421577"/>
            <a:ext cx="2449200" cy="229313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AABA5B78-B9B7-49BF-B36D-67860A8C7994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001781" y="3845041"/>
            <a:ext cx="2039675" cy="167641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FFF6447F-DE40-4411-9C5C-3EE83D74506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953726" y="3524810"/>
            <a:ext cx="2039675" cy="285135"/>
          </a:xfrm>
        </p:spPr>
        <p:txBody>
          <a:bodyPr/>
          <a:lstStyle>
            <a:lvl1pPr marL="0" indent="0">
              <a:buNone/>
              <a:defRPr b="1">
                <a:solidFill>
                  <a:schemeClr val="accent5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325F707A-453A-405A-B69F-582C1B680AA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621567" y="3524810"/>
            <a:ext cx="2039675" cy="285135"/>
          </a:xfrm>
        </p:spPr>
        <p:txBody>
          <a:bodyPr/>
          <a:lstStyle>
            <a:lvl1pPr marL="0" indent="0">
              <a:buNone/>
              <a:defRPr b="1">
                <a:solidFill>
                  <a:schemeClr val="accent5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DD6443A1-67B2-46D1-AD52-B94432627C2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302350" y="3524810"/>
            <a:ext cx="2039675" cy="285135"/>
          </a:xfrm>
        </p:spPr>
        <p:txBody>
          <a:bodyPr/>
          <a:lstStyle>
            <a:lvl1pPr marL="0" indent="0">
              <a:buNone/>
              <a:defRPr b="1">
                <a:solidFill>
                  <a:schemeClr val="accent5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0B3BEA35-B8B7-49D3-8FE3-616F260332F1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01781" y="3524810"/>
            <a:ext cx="2039675" cy="285135"/>
          </a:xfrm>
        </p:spPr>
        <p:txBody>
          <a:bodyPr/>
          <a:lstStyle>
            <a:lvl1pPr marL="0" indent="0">
              <a:buNone/>
              <a:defRPr b="1">
                <a:solidFill>
                  <a:schemeClr val="accent5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4164307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6B46E28-9E10-4221-8D6F-C7341C7DDE33}"/>
              </a:ext>
            </a:extLst>
          </p:cNvPr>
          <p:cNvSpPr/>
          <p:nvPr userDrawn="1"/>
        </p:nvSpPr>
        <p:spPr>
          <a:xfrm>
            <a:off x="744193" y="2840491"/>
            <a:ext cx="2532049" cy="304903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D31D5402-15DA-4057-99BC-39B935E98CA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53726" y="3323303"/>
            <a:ext cx="2108671" cy="2329201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l"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</a:t>
            </a:r>
            <a:r>
              <a:rPr lang="en-US" dirty="0" err="1"/>
              <a:t>stylese</a:t>
            </a:r>
            <a:endParaRPr lang="en-US" dirty="0"/>
          </a:p>
          <a:p>
            <a:pPr lvl="1"/>
            <a:r>
              <a:rPr lang="en-US" dirty="0"/>
              <a:t>Second </a:t>
            </a:r>
            <a:r>
              <a:rPr lang="en-US" dirty="0" err="1"/>
              <a:t>lvel</a:t>
            </a:r>
            <a:endParaRPr lang="en-US" dirty="0"/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3B5358A-3F9C-40BF-83D5-8E27CDDDBAAF}"/>
              </a:ext>
            </a:extLst>
          </p:cNvPr>
          <p:cNvSpPr/>
          <p:nvPr userDrawn="1"/>
        </p:nvSpPr>
        <p:spPr>
          <a:xfrm>
            <a:off x="3426878" y="2840491"/>
            <a:ext cx="2532049" cy="304903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773271E7-7C8B-4E09-BDE7-BDF3E0BE782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621567" y="3323303"/>
            <a:ext cx="2108671" cy="2329202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l"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421F4E2-C961-4B9E-9612-3B56372C4936}"/>
              </a:ext>
            </a:extLst>
          </p:cNvPr>
          <p:cNvSpPr/>
          <p:nvPr userDrawn="1"/>
        </p:nvSpPr>
        <p:spPr>
          <a:xfrm>
            <a:off x="6109563" y="2840491"/>
            <a:ext cx="2532049" cy="304903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433EF9DC-F22F-44F6-AD10-C181A968E58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07120" y="3323303"/>
            <a:ext cx="2108671" cy="2329202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l"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06B5FFA-9831-4CB3-BCF7-73DD15F9C6D6}"/>
              </a:ext>
            </a:extLst>
          </p:cNvPr>
          <p:cNvSpPr/>
          <p:nvPr userDrawn="1"/>
        </p:nvSpPr>
        <p:spPr>
          <a:xfrm>
            <a:off x="8792248" y="2851048"/>
            <a:ext cx="2532049" cy="304903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0A37B156-D74F-4968-B10C-4A3EB09D82FB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001781" y="3323302"/>
            <a:ext cx="2108671" cy="2340442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l"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8AF271F4-A8BC-4913-9856-91E9BAB0E671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953726" y="3008671"/>
            <a:ext cx="2108671" cy="285135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C5D53EC4-2198-4F78-9203-F43D56004CCC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621567" y="3008671"/>
            <a:ext cx="2108671" cy="285135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581A378B-78FF-4D1A-9807-620BD22CC17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302350" y="3008671"/>
            <a:ext cx="2108671" cy="285135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42ECF13F-9A9E-4B85-87D3-56503A45B60C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01781" y="3008671"/>
            <a:ext cx="2108671" cy="285135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13995504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6B46E28-9E10-4221-8D6F-C7341C7DDE33}"/>
              </a:ext>
            </a:extLst>
          </p:cNvPr>
          <p:cNvSpPr/>
          <p:nvPr userDrawn="1"/>
        </p:nvSpPr>
        <p:spPr>
          <a:xfrm>
            <a:off x="744193" y="2840491"/>
            <a:ext cx="2532049" cy="304903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D31D5402-15DA-4057-99BC-39B935E98CA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53726" y="3323303"/>
            <a:ext cx="2108671" cy="2329201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l"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</a:t>
            </a:r>
            <a:r>
              <a:rPr lang="en-US" dirty="0" err="1"/>
              <a:t>stylese</a:t>
            </a:r>
            <a:endParaRPr lang="en-US" dirty="0"/>
          </a:p>
          <a:p>
            <a:pPr lvl="1"/>
            <a:r>
              <a:rPr lang="en-US" dirty="0"/>
              <a:t>Second </a:t>
            </a:r>
            <a:r>
              <a:rPr lang="en-US" dirty="0" err="1"/>
              <a:t>lvel</a:t>
            </a:r>
            <a:endParaRPr lang="en-US" dirty="0"/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3B5358A-3F9C-40BF-83D5-8E27CDDDBAAF}"/>
              </a:ext>
            </a:extLst>
          </p:cNvPr>
          <p:cNvSpPr/>
          <p:nvPr userDrawn="1"/>
        </p:nvSpPr>
        <p:spPr>
          <a:xfrm>
            <a:off x="3426878" y="2840491"/>
            <a:ext cx="2532049" cy="304903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773271E7-7C8B-4E09-BDE7-BDF3E0BE782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621567" y="3323303"/>
            <a:ext cx="2108671" cy="2329202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l"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421F4E2-C961-4B9E-9612-3B56372C4936}"/>
              </a:ext>
            </a:extLst>
          </p:cNvPr>
          <p:cNvSpPr/>
          <p:nvPr userDrawn="1"/>
        </p:nvSpPr>
        <p:spPr>
          <a:xfrm>
            <a:off x="6109563" y="2840491"/>
            <a:ext cx="2532049" cy="304903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433EF9DC-F22F-44F6-AD10-C181A968E58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07120" y="3323303"/>
            <a:ext cx="2108671" cy="2329202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l"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06B5FFA-9831-4CB3-BCF7-73DD15F9C6D6}"/>
              </a:ext>
            </a:extLst>
          </p:cNvPr>
          <p:cNvSpPr/>
          <p:nvPr userDrawn="1"/>
        </p:nvSpPr>
        <p:spPr>
          <a:xfrm>
            <a:off x="8792248" y="2851048"/>
            <a:ext cx="2532049" cy="304903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0A37B156-D74F-4968-B10C-4A3EB09D82FB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001781" y="3323302"/>
            <a:ext cx="2108671" cy="2340442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l"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8AF271F4-A8BC-4913-9856-91E9BAB0E671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953726" y="3008671"/>
            <a:ext cx="2108671" cy="285135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C5D53EC4-2198-4F78-9203-F43D56004CCC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621567" y="3008671"/>
            <a:ext cx="2108671" cy="285135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581A378B-78FF-4D1A-9807-620BD22CC17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302350" y="3008671"/>
            <a:ext cx="2108671" cy="285135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42ECF13F-9A9E-4B85-87D3-56503A45B60C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01781" y="3008671"/>
            <a:ext cx="2108671" cy="285135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3021394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6B46E28-9E10-4221-8D6F-C7341C7DDE33}"/>
              </a:ext>
            </a:extLst>
          </p:cNvPr>
          <p:cNvSpPr/>
          <p:nvPr userDrawn="1"/>
        </p:nvSpPr>
        <p:spPr>
          <a:xfrm>
            <a:off x="744193" y="2840491"/>
            <a:ext cx="2532049" cy="304903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D31D5402-15DA-4057-99BC-39B935E98CA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53726" y="3323303"/>
            <a:ext cx="2108671" cy="2329201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l"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</a:t>
            </a:r>
            <a:r>
              <a:rPr lang="en-US" dirty="0" err="1"/>
              <a:t>stylese</a:t>
            </a:r>
            <a:endParaRPr lang="en-US" dirty="0"/>
          </a:p>
          <a:p>
            <a:pPr lvl="1"/>
            <a:r>
              <a:rPr lang="en-US" dirty="0"/>
              <a:t>Second </a:t>
            </a:r>
            <a:r>
              <a:rPr lang="en-US" dirty="0" err="1"/>
              <a:t>lvel</a:t>
            </a:r>
            <a:endParaRPr lang="en-US" dirty="0"/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3B5358A-3F9C-40BF-83D5-8E27CDDDBAAF}"/>
              </a:ext>
            </a:extLst>
          </p:cNvPr>
          <p:cNvSpPr/>
          <p:nvPr userDrawn="1"/>
        </p:nvSpPr>
        <p:spPr>
          <a:xfrm>
            <a:off x="3426878" y="2840491"/>
            <a:ext cx="2532049" cy="304903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773271E7-7C8B-4E09-BDE7-BDF3E0BE782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621567" y="3323303"/>
            <a:ext cx="2108671" cy="2329202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l"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421F4E2-C961-4B9E-9612-3B56372C4936}"/>
              </a:ext>
            </a:extLst>
          </p:cNvPr>
          <p:cNvSpPr/>
          <p:nvPr userDrawn="1"/>
        </p:nvSpPr>
        <p:spPr>
          <a:xfrm>
            <a:off x="6109563" y="2840491"/>
            <a:ext cx="2532049" cy="304903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433EF9DC-F22F-44F6-AD10-C181A968E58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07120" y="3323303"/>
            <a:ext cx="2108671" cy="2329202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l"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06B5FFA-9831-4CB3-BCF7-73DD15F9C6D6}"/>
              </a:ext>
            </a:extLst>
          </p:cNvPr>
          <p:cNvSpPr/>
          <p:nvPr userDrawn="1"/>
        </p:nvSpPr>
        <p:spPr>
          <a:xfrm>
            <a:off x="8792248" y="2851048"/>
            <a:ext cx="2532049" cy="304903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0A37B156-D74F-4968-B10C-4A3EB09D82FB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001781" y="3323302"/>
            <a:ext cx="2108671" cy="2340442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l"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8AF271F4-A8BC-4913-9856-91E9BAB0E671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953726" y="3008671"/>
            <a:ext cx="2108671" cy="285135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C5D53EC4-2198-4F78-9203-F43D56004CCC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621567" y="3008671"/>
            <a:ext cx="2108671" cy="285135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581A378B-78FF-4D1A-9807-620BD22CC17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302350" y="3008671"/>
            <a:ext cx="2108671" cy="285135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42ECF13F-9A9E-4B85-87D3-56503A45B60C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01781" y="3008671"/>
            <a:ext cx="2108671" cy="285135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444769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6B46E28-9E10-4221-8D6F-C7341C7DDE33}"/>
              </a:ext>
            </a:extLst>
          </p:cNvPr>
          <p:cNvSpPr/>
          <p:nvPr userDrawn="1"/>
        </p:nvSpPr>
        <p:spPr>
          <a:xfrm>
            <a:off x="744193" y="2840491"/>
            <a:ext cx="2532049" cy="304903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D31D5402-15DA-4057-99BC-39B935E98CA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53726" y="3323303"/>
            <a:ext cx="2108671" cy="2329201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l"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</a:t>
            </a:r>
            <a:r>
              <a:rPr lang="en-US" dirty="0" err="1"/>
              <a:t>stylese</a:t>
            </a:r>
            <a:endParaRPr lang="en-US" dirty="0"/>
          </a:p>
          <a:p>
            <a:pPr lvl="1"/>
            <a:r>
              <a:rPr lang="en-US" dirty="0"/>
              <a:t>Second </a:t>
            </a:r>
            <a:r>
              <a:rPr lang="en-US" dirty="0" err="1"/>
              <a:t>lvel</a:t>
            </a:r>
            <a:endParaRPr lang="en-US" dirty="0"/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3B5358A-3F9C-40BF-83D5-8E27CDDDBAAF}"/>
              </a:ext>
            </a:extLst>
          </p:cNvPr>
          <p:cNvSpPr/>
          <p:nvPr userDrawn="1"/>
        </p:nvSpPr>
        <p:spPr>
          <a:xfrm>
            <a:off x="3426878" y="2840491"/>
            <a:ext cx="2532049" cy="304903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773271E7-7C8B-4E09-BDE7-BDF3E0BE782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621567" y="3323303"/>
            <a:ext cx="2108671" cy="2329202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l"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421F4E2-C961-4B9E-9612-3B56372C4936}"/>
              </a:ext>
            </a:extLst>
          </p:cNvPr>
          <p:cNvSpPr/>
          <p:nvPr userDrawn="1"/>
        </p:nvSpPr>
        <p:spPr>
          <a:xfrm>
            <a:off x="6109563" y="2840491"/>
            <a:ext cx="2532049" cy="304903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433EF9DC-F22F-44F6-AD10-C181A968E58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07120" y="3323303"/>
            <a:ext cx="2108671" cy="2329202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l"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06B5FFA-9831-4CB3-BCF7-73DD15F9C6D6}"/>
              </a:ext>
            </a:extLst>
          </p:cNvPr>
          <p:cNvSpPr/>
          <p:nvPr userDrawn="1"/>
        </p:nvSpPr>
        <p:spPr>
          <a:xfrm>
            <a:off x="8792248" y="2851048"/>
            <a:ext cx="2532049" cy="304903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0A37B156-D74F-4968-B10C-4A3EB09D82FB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001781" y="3323302"/>
            <a:ext cx="2108671" cy="2340442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l"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8AF271F4-A8BC-4913-9856-91E9BAB0E671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953726" y="3008671"/>
            <a:ext cx="2108671" cy="285135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C5D53EC4-2198-4F78-9203-F43D56004CCC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621567" y="3008671"/>
            <a:ext cx="2108671" cy="285135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581A378B-78FF-4D1A-9807-620BD22CC17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302350" y="3008671"/>
            <a:ext cx="2108671" cy="285135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42ECF13F-9A9E-4B85-87D3-56503A45B60C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01781" y="3008671"/>
            <a:ext cx="2108671" cy="285135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11047441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6B46E28-9E10-4221-8D6F-C7341C7DDE33}"/>
              </a:ext>
            </a:extLst>
          </p:cNvPr>
          <p:cNvSpPr/>
          <p:nvPr userDrawn="1"/>
        </p:nvSpPr>
        <p:spPr>
          <a:xfrm>
            <a:off x="744193" y="2840491"/>
            <a:ext cx="2532049" cy="304903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D31D5402-15DA-4057-99BC-39B935E98CA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53726" y="3323303"/>
            <a:ext cx="2108671" cy="2329201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l"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</a:t>
            </a:r>
            <a:r>
              <a:rPr lang="en-US" dirty="0" err="1"/>
              <a:t>stylese</a:t>
            </a:r>
            <a:endParaRPr lang="en-US" dirty="0"/>
          </a:p>
          <a:p>
            <a:pPr lvl="1"/>
            <a:r>
              <a:rPr lang="en-US" dirty="0"/>
              <a:t>Second </a:t>
            </a:r>
            <a:r>
              <a:rPr lang="en-US" dirty="0" err="1"/>
              <a:t>lvel</a:t>
            </a:r>
            <a:endParaRPr lang="en-US" dirty="0"/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3B5358A-3F9C-40BF-83D5-8E27CDDDBAAF}"/>
              </a:ext>
            </a:extLst>
          </p:cNvPr>
          <p:cNvSpPr/>
          <p:nvPr userDrawn="1"/>
        </p:nvSpPr>
        <p:spPr>
          <a:xfrm>
            <a:off x="3426878" y="2840491"/>
            <a:ext cx="2532049" cy="304903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773271E7-7C8B-4E09-BDE7-BDF3E0BE782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621567" y="3323303"/>
            <a:ext cx="2108671" cy="2329202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l"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421F4E2-C961-4B9E-9612-3B56372C4936}"/>
              </a:ext>
            </a:extLst>
          </p:cNvPr>
          <p:cNvSpPr/>
          <p:nvPr userDrawn="1"/>
        </p:nvSpPr>
        <p:spPr>
          <a:xfrm>
            <a:off x="6109563" y="2840491"/>
            <a:ext cx="2532049" cy="304903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433EF9DC-F22F-44F6-AD10-C181A968E58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07120" y="3323303"/>
            <a:ext cx="2108671" cy="2329202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l"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06B5FFA-9831-4CB3-BCF7-73DD15F9C6D6}"/>
              </a:ext>
            </a:extLst>
          </p:cNvPr>
          <p:cNvSpPr/>
          <p:nvPr userDrawn="1"/>
        </p:nvSpPr>
        <p:spPr>
          <a:xfrm>
            <a:off x="8792248" y="2851048"/>
            <a:ext cx="2532049" cy="304903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0A37B156-D74F-4968-B10C-4A3EB09D82FB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001781" y="3323302"/>
            <a:ext cx="2108671" cy="2340442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l"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8AF271F4-A8BC-4913-9856-91E9BAB0E671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953726" y="3008671"/>
            <a:ext cx="2108671" cy="285135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C5D53EC4-2198-4F78-9203-F43D56004CCC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621567" y="3008671"/>
            <a:ext cx="2108671" cy="285135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581A378B-78FF-4D1A-9807-620BD22CC17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302350" y="3008671"/>
            <a:ext cx="2108671" cy="285135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42ECF13F-9A9E-4B85-87D3-56503A45B60C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01781" y="3008671"/>
            <a:ext cx="2108671" cy="285135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071278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68669" y="2243491"/>
            <a:ext cx="8882313" cy="3475495"/>
          </a:xfrm>
        </p:spPr>
        <p:txBody>
          <a:bodyPr>
            <a:normAutofit/>
          </a:bodyPr>
          <a:lstStyle>
            <a:lvl1pPr>
              <a:buNone/>
              <a:defRPr sz="2400"/>
            </a:lvl1pPr>
            <a:lvl2pPr>
              <a:buNone/>
              <a:defRPr sz="2400"/>
            </a:lvl2pPr>
            <a:lvl3pPr>
              <a:buNone/>
              <a:defRPr sz="2400"/>
            </a:lvl3pPr>
            <a:lvl4pPr>
              <a:buNone/>
              <a:defRPr sz="2400"/>
            </a:lvl4pPr>
            <a:lvl5pPr>
              <a:buNone/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1CA837-78CE-466E-AD7C-3C8ABAF6F5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4" name="Text Box 2">
            <a:extLst>
              <a:ext uri="{FF2B5EF4-FFF2-40B4-BE49-F238E27FC236}">
                <a16:creationId xmlns:a16="http://schemas.microsoft.com/office/drawing/2014/main" id="{FB2AAE32-5CA2-4258-8F26-AE5BB600840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846195" y="1890098"/>
            <a:ext cx="216079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b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Box 2">
            <a:extLst>
              <a:ext uri="{FF2B5EF4-FFF2-40B4-BE49-F238E27FC236}">
                <a16:creationId xmlns:a16="http://schemas.microsoft.com/office/drawing/2014/main" id="{706CDC27-B969-4B52-88A6-7D192D06C46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02313" y="1309491"/>
            <a:ext cx="4143146" cy="19543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200" b="1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YPOGRAPH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0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corporate presentations, use Arial and Arial black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0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ial – bodies of text</a:t>
            </a:r>
            <a:br>
              <a:rPr lang="en-GB" sz="10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b="0" noProof="1">
                <a:solidFill>
                  <a:schemeClr val="accent4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ARIAL BLACK </a:t>
            </a:r>
            <a:r>
              <a:rPr lang="en-GB" sz="10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Headlines, only in capital lett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lang="en-GB" sz="10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b="1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S TYPEFACE – </a:t>
            </a:r>
            <a:r>
              <a:rPr lang="en-GB" sz="10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external use, marketing and branding purposes but can also be used in more visual presentations if needed.</a:t>
            </a:r>
            <a:br>
              <a:rPr lang="en-GB" sz="10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sz="10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b="0" noProof="1">
                <a:solidFill>
                  <a:schemeClr val="accent4"/>
                </a:solidFill>
                <a:latin typeface="Scandinavian New Book" panose="02000503040000020004" pitchFamily="2" charset="0"/>
                <a:cs typeface="Arial" panose="020B0604020202020204" pitchFamily="34" charset="0"/>
              </a:rPr>
              <a:t>Scandinavian New Book </a:t>
            </a:r>
            <a:r>
              <a:rPr lang="en-GB" sz="10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use as often as possible in bodies of text</a:t>
            </a:r>
            <a:br>
              <a:rPr lang="en-GB" sz="10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b="0" noProof="1">
                <a:solidFill>
                  <a:schemeClr val="accent4"/>
                </a:solidFill>
                <a:latin typeface="Scandinavian New" panose="02000503040000020004" pitchFamily="2" charset="0"/>
                <a:cs typeface="Arial" panose="020B0604020202020204" pitchFamily="34" charset="0"/>
              </a:rPr>
              <a:t>Scandinavian New </a:t>
            </a:r>
            <a:r>
              <a:rPr lang="en-GB" sz="10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bodies of text with limited space</a:t>
            </a:r>
            <a:br>
              <a:rPr lang="en-GB" sz="10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b="0" noProof="1">
                <a:solidFill>
                  <a:schemeClr val="accent4"/>
                </a:solidFill>
                <a:latin typeface="Scandinavian New Black" panose="02000503040000020004" pitchFamily="2" charset="0"/>
                <a:cs typeface="Arial" panose="020B0604020202020204" pitchFamily="34" charset="0"/>
              </a:rPr>
              <a:t>SCANDINAVIAN NEW BLACK </a:t>
            </a:r>
            <a:r>
              <a:rPr lang="en-GB" sz="10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Headlines, only in capital letter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99D878C-AE31-45B0-980E-9BA52FA4905D}"/>
              </a:ext>
            </a:extLst>
          </p:cNvPr>
          <p:cNvGrpSpPr/>
          <p:nvPr userDrawn="1"/>
        </p:nvGrpSpPr>
        <p:grpSpPr>
          <a:xfrm>
            <a:off x="783466" y="3397655"/>
            <a:ext cx="3660943" cy="2658553"/>
            <a:chOff x="783466" y="3211033"/>
            <a:chExt cx="3660943" cy="2845176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5530B353-3B9B-4BC4-9F26-1DF2B7467F9D}"/>
                </a:ext>
              </a:extLst>
            </p:cNvPr>
            <p:cNvSpPr/>
            <p:nvPr/>
          </p:nvSpPr>
          <p:spPr bwMode="auto">
            <a:xfrm>
              <a:off x="783466" y="3211033"/>
              <a:ext cx="871988" cy="73558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rgbClr val="A7A29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800" b="0" i="0" u="none" strike="noStrike" cap="none" normalizeH="0" baseline="0" dirty="0">
                  <a:ln>
                    <a:noFill/>
                  </a:ln>
                  <a:effectLst/>
                  <a:latin typeface="Arial" pitchFamily="34" charset="0"/>
                  <a:cs typeface="Arial" pitchFamily="34" charset="0"/>
                </a:rPr>
                <a:t>Text/BG</a:t>
              </a:r>
              <a:r>
                <a:rPr kumimoji="0" lang="en-US" sz="800" b="0" i="0" u="none" strike="noStrike" cap="none" normalizeH="0" dirty="0">
                  <a:ln>
                    <a:noFill/>
                  </a:ln>
                  <a:effectLst/>
                  <a:latin typeface="Arial" pitchFamily="34" charset="0"/>
                  <a:cs typeface="Arial" pitchFamily="34" charset="0"/>
                </a:rPr>
                <a:t> Light 1</a:t>
              </a:r>
              <a:endParaRPr kumimoji="0" lang="en-US" sz="800" b="0" i="0" u="none" strike="noStrike" cap="none" normalizeH="0" baseline="0" dirty="0">
                <a:ln>
                  <a:noFill/>
                </a:ln>
                <a:effectLst/>
                <a:latin typeface="Arial" pitchFamily="34" charset="0"/>
                <a:cs typeface="Arial" pitchFamily="34" charset="0"/>
              </a:endParaRPr>
            </a:p>
            <a:p>
              <a:pPr marL="0" marR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800" dirty="0">
                  <a:latin typeface="Arial" pitchFamily="34" charset="0"/>
                  <a:cs typeface="Arial" pitchFamily="34" charset="0"/>
                </a:rPr>
                <a:t>White</a:t>
              </a:r>
            </a:p>
            <a:p>
              <a:pPr marL="0" marR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800" b="0" i="0" u="none" strike="noStrike" cap="none" normalizeH="0" baseline="0" dirty="0">
                  <a:ln>
                    <a:noFill/>
                  </a:ln>
                  <a:effectLst/>
                  <a:latin typeface="Arial" pitchFamily="34" charset="0"/>
                  <a:cs typeface="Arial" pitchFamily="34" charset="0"/>
                </a:rPr>
                <a:t>R 255</a:t>
              </a:r>
            </a:p>
            <a:p>
              <a:pPr marL="0" marR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800" dirty="0">
                  <a:latin typeface="Arial" pitchFamily="34" charset="0"/>
                  <a:cs typeface="Arial" pitchFamily="34" charset="0"/>
                </a:rPr>
                <a:t>G 255</a:t>
              </a:r>
            </a:p>
            <a:p>
              <a:pPr marL="0" marR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800" b="0" i="0" u="none" strike="noStrike" cap="none" normalizeH="0" baseline="0" dirty="0">
                  <a:ln>
                    <a:noFill/>
                  </a:ln>
                  <a:effectLst/>
                  <a:latin typeface="Arial" pitchFamily="34" charset="0"/>
                  <a:cs typeface="Arial" pitchFamily="34" charset="0"/>
                </a:rPr>
                <a:t>B 255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D5F8E60-AD06-4798-8C75-26240D168446}"/>
                </a:ext>
              </a:extLst>
            </p:cNvPr>
            <p:cNvSpPr/>
            <p:nvPr/>
          </p:nvSpPr>
          <p:spPr bwMode="auto">
            <a:xfrm>
              <a:off x="2642770" y="4005459"/>
              <a:ext cx="871988" cy="735580"/>
            </a:xfrm>
            <a:prstGeom prst="rect">
              <a:avLst/>
            </a:prstGeom>
            <a:solidFill>
              <a:srgbClr val="00006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8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34" charset="0"/>
                  <a:cs typeface="Arial" pitchFamily="34" charset="0"/>
                </a:rPr>
                <a:t>Accent 4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8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Deep Blue</a:t>
              </a:r>
            </a:p>
            <a:p>
              <a:pPr marL="0" marR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8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34" charset="0"/>
                  <a:cs typeface="Arial" pitchFamily="34" charset="0"/>
                </a:rPr>
                <a:t>R 0</a:t>
              </a:r>
            </a:p>
            <a:p>
              <a:pPr marL="0" marR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8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G 0</a:t>
              </a:r>
            </a:p>
            <a:p>
              <a:pPr marL="0" marR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8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34" charset="0"/>
                  <a:cs typeface="Arial" pitchFamily="34" charset="0"/>
                </a:rPr>
                <a:t>B 102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068E4A73-BB9B-47A2-8D84-5A1A2FF9F09B}"/>
                </a:ext>
              </a:extLst>
            </p:cNvPr>
            <p:cNvSpPr/>
            <p:nvPr/>
          </p:nvSpPr>
          <p:spPr bwMode="auto">
            <a:xfrm>
              <a:off x="2642770" y="4787943"/>
              <a:ext cx="871988" cy="735580"/>
            </a:xfrm>
            <a:prstGeom prst="rect">
              <a:avLst/>
            </a:prstGeom>
            <a:solidFill>
              <a:srgbClr val="CAA977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800" b="0" i="0" u="none" strike="noStrike" cap="none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latin typeface="Arial" pitchFamily="34" charset="0"/>
                  <a:cs typeface="Arial" pitchFamily="34" charset="0"/>
                </a:rPr>
                <a:t>Accent 5</a:t>
              </a:r>
            </a:p>
            <a:p>
              <a:pPr marL="0" marR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80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Sand</a:t>
              </a:r>
            </a:p>
            <a:p>
              <a:pPr marL="0" marR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800" b="0" i="0" u="none" strike="noStrike" cap="none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latin typeface="Arial" pitchFamily="34" charset="0"/>
                  <a:cs typeface="Arial" pitchFamily="34" charset="0"/>
                </a:rPr>
                <a:t>R 202</a:t>
              </a:r>
            </a:p>
            <a:p>
              <a:pPr marL="0" marR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80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G 169</a:t>
              </a:r>
            </a:p>
            <a:p>
              <a:pPr marL="0" marR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800" b="0" i="0" u="none" strike="noStrike" cap="none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latin typeface="Arial" pitchFamily="34" charset="0"/>
                  <a:cs typeface="Arial" pitchFamily="34" charset="0"/>
                </a:rPr>
                <a:t>B 119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2450E3C1-B74B-4BCF-90A4-C251219FBB18}"/>
                </a:ext>
              </a:extLst>
            </p:cNvPr>
            <p:cNvSpPr/>
            <p:nvPr/>
          </p:nvSpPr>
          <p:spPr bwMode="auto">
            <a:xfrm>
              <a:off x="3572421" y="3211033"/>
              <a:ext cx="871988" cy="735580"/>
            </a:xfrm>
            <a:prstGeom prst="rect">
              <a:avLst/>
            </a:prstGeom>
            <a:solidFill>
              <a:srgbClr val="BFBCB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800" b="0" i="0" u="none" strike="noStrike" cap="none" normalizeH="0" baseline="0" dirty="0">
                  <a:ln>
                    <a:noFill/>
                  </a:ln>
                  <a:effectLst/>
                  <a:latin typeface="Arial" pitchFamily="34" charset="0"/>
                  <a:cs typeface="Arial" pitchFamily="34" charset="0"/>
                </a:rPr>
                <a:t>Accent 6</a:t>
              </a:r>
            </a:p>
            <a:p>
              <a:pPr marL="0" marR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800" dirty="0">
                  <a:latin typeface="Arial" pitchFamily="34" charset="0"/>
                  <a:cs typeface="Arial" pitchFamily="34" charset="0"/>
                </a:rPr>
                <a:t>Medium Grey</a:t>
              </a:r>
            </a:p>
            <a:p>
              <a:pPr marL="0" marR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800" b="0" i="0" u="none" strike="noStrike" cap="none" normalizeH="0" baseline="0" dirty="0">
                  <a:ln>
                    <a:noFill/>
                  </a:ln>
                  <a:effectLst/>
                  <a:latin typeface="Arial" pitchFamily="34" charset="0"/>
                  <a:cs typeface="Arial" pitchFamily="34" charset="0"/>
                </a:rPr>
                <a:t>R 191</a:t>
              </a:r>
            </a:p>
            <a:p>
              <a:pPr marL="0" marR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800" dirty="0">
                  <a:latin typeface="Arial" pitchFamily="34" charset="0"/>
                  <a:cs typeface="Arial" pitchFamily="34" charset="0"/>
                </a:rPr>
                <a:t>G 188</a:t>
              </a:r>
            </a:p>
            <a:p>
              <a:pPr marL="0" marR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800" b="0" i="0" u="none" strike="noStrike" cap="none" normalizeH="0" baseline="0" dirty="0">
                  <a:ln>
                    <a:noFill/>
                  </a:ln>
                  <a:effectLst/>
                  <a:latin typeface="Arial" pitchFamily="34" charset="0"/>
                  <a:cs typeface="Arial" pitchFamily="34" charset="0"/>
                </a:rPr>
                <a:t>B </a:t>
              </a:r>
              <a:r>
                <a:rPr lang="en-US" sz="800" dirty="0">
                  <a:latin typeface="Arial" pitchFamily="34" charset="0"/>
                  <a:cs typeface="Arial" pitchFamily="34" charset="0"/>
                </a:rPr>
                <a:t>181</a:t>
              </a:r>
              <a:endParaRPr kumimoji="0" lang="en-US" sz="800" b="0" i="0" u="none" strike="noStrike" cap="none" normalizeH="0" baseline="0" dirty="0">
                <a:ln>
                  <a:noFill/>
                </a:ln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EA0638AD-DA50-418D-ADF6-18CA920A7354}"/>
                </a:ext>
              </a:extLst>
            </p:cNvPr>
            <p:cNvSpPr/>
            <p:nvPr/>
          </p:nvSpPr>
          <p:spPr bwMode="auto">
            <a:xfrm>
              <a:off x="783466" y="4005459"/>
              <a:ext cx="871988" cy="735580"/>
            </a:xfrm>
            <a:prstGeom prst="rect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8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34" charset="0"/>
                  <a:cs typeface="Arial" pitchFamily="34" charset="0"/>
                </a:rPr>
                <a:t>Text/BG</a:t>
              </a:r>
              <a:r>
                <a:rPr kumimoji="0" lang="en-US" sz="800" b="0" i="0" u="none" strike="noStrike" cap="none" normalizeH="0" dirty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34" charset="0"/>
                  <a:cs typeface="Arial" pitchFamily="34" charset="0"/>
                </a:rPr>
                <a:t> Dark 1</a:t>
              </a:r>
              <a:endParaRPr kumimoji="0" lang="en-US" sz="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cs typeface="Arial" pitchFamily="34" charset="0"/>
              </a:endParaRPr>
            </a:p>
            <a:p>
              <a:pPr marL="0" marR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8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Black</a:t>
              </a:r>
            </a:p>
            <a:p>
              <a:pPr marL="0" marR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8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34" charset="0"/>
                  <a:cs typeface="Arial" pitchFamily="34" charset="0"/>
                </a:rPr>
                <a:t>R 0</a:t>
              </a:r>
            </a:p>
            <a:p>
              <a:pPr marL="0" marR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8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G 0</a:t>
              </a:r>
            </a:p>
            <a:p>
              <a:pPr marL="0" marR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8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34" charset="0"/>
                  <a:cs typeface="Arial" pitchFamily="34" charset="0"/>
                </a:rPr>
                <a:t>B 0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3F990952-A2C0-4E32-82AE-8D0B3C1C8667}"/>
                </a:ext>
              </a:extLst>
            </p:cNvPr>
            <p:cNvSpPr/>
            <p:nvPr/>
          </p:nvSpPr>
          <p:spPr bwMode="auto">
            <a:xfrm>
              <a:off x="783466" y="4787943"/>
              <a:ext cx="871988" cy="735580"/>
            </a:xfrm>
            <a:prstGeom prst="rect">
              <a:avLst/>
            </a:prstGeom>
            <a:solidFill>
              <a:srgbClr val="D5D4D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800" b="0" i="0" u="none" strike="noStrike" cap="none" normalizeH="0" baseline="0" dirty="0">
                  <a:ln>
                    <a:noFill/>
                  </a:ln>
                  <a:effectLst/>
                  <a:latin typeface="Arial" pitchFamily="34" charset="0"/>
                  <a:cs typeface="Arial" pitchFamily="34" charset="0"/>
                </a:rPr>
                <a:t>Text/BG</a:t>
              </a:r>
              <a:r>
                <a:rPr kumimoji="0" lang="en-US" sz="800" b="0" i="0" u="none" strike="noStrike" cap="none" normalizeH="0" dirty="0">
                  <a:ln>
                    <a:noFill/>
                  </a:ln>
                  <a:effectLst/>
                  <a:latin typeface="Arial" pitchFamily="34" charset="0"/>
                  <a:cs typeface="Arial" pitchFamily="34" charset="0"/>
                </a:rPr>
                <a:t> Light 2</a:t>
              </a:r>
              <a:endParaRPr kumimoji="0" lang="en-US" sz="800" b="0" i="0" u="none" strike="noStrike" cap="none" normalizeH="0" baseline="0" dirty="0">
                <a:ln>
                  <a:noFill/>
                </a:ln>
                <a:effectLst/>
                <a:latin typeface="Arial" pitchFamily="34" charset="0"/>
                <a:cs typeface="Arial" pitchFamily="34" charset="0"/>
              </a:endParaRPr>
            </a:p>
            <a:p>
              <a:pPr marL="0" marR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800" dirty="0">
                  <a:latin typeface="Arial" pitchFamily="34" charset="0"/>
                  <a:cs typeface="Arial" pitchFamily="34" charset="0"/>
                </a:rPr>
                <a:t>Light Grey</a:t>
              </a:r>
              <a:endParaRPr lang="en-US" sz="800" baseline="30000" dirty="0">
                <a:latin typeface="Arial" pitchFamily="34" charset="0"/>
                <a:cs typeface="Arial" pitchFamily="34" charset="0"/>
              </a:endParaRPr>
            </a:p>
            <a:p>
              <a:pPr marL="0" marR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800" b="0" i="0" u="none" strike="noStrike" cap="none" normalizeH="0" baseline="0" dirty="0">
                  <a:ln>
                    <a:noFill/>
                  </a:ln>
                  <a:effectLst/>
                  <a:latin typeface="Arial" pitchFamily="34" charset="0"/>
                  <a:cs typeface="Arial" pitchFamily="34" charset="0"/>
                </a:rPr>
                <a:t>R 213</a:t>
              </a:r>
            </a:p>
            <a:p>
              <a:pPr marL="0" marR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800" dirty="0">
                  <a:latin typeface="Arial" pitchFamily="34" charset="0"/>
                  <a:cs typeface="Arial" pitchFamily="34" charset="0"/>
                </a:rPr>
                <a:t>G 212</a:t>
              </a:r>
            </a:p>
            <a:p>
              <a:pPr marL="0" marR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800" b="0" i="0" u="none" strike="noStrike" cap="none" normalizeH="0" baseline="0" dirty="0">
                  <a:ln>
                    <a:noFill/>
                  </a:ln>
                  <a:effectLst/>
                  <a:latin typeface="Arial" pitchFamily="34" charset="0"/>
                  <a:cs typeface="Arial" pitchFamily="34" charset="0"/>
                </a:rPr>
                <a:t>B 209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79650D77-940E-4E0D-B246-E2D824BD7CD5}"/>
                </a:ext>
              </a:extLst>
            </p:cNvPr>
            <p:cNvSpPr/>
            <p:nvPr/>
          </p:nvSpPr>
          <p:spPr bwMode="auto">
            <a:xfrm>
              <a:off x="1713118" y="4787943"/>
              <a:ext cx="871988" cy="735580"/>
            </a:xfrm>
            <a:prstGeom prst="rect">
              <a:avLst/>
            </a:prstGeom>
            <a:solidFill>
              <a:srgbClr val="0000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8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34" charset="0"/>
                  <a:cs typeface="Arial" pitchFamily="34" charset="0"/>
                </a:rPr>
                <a:t>Accent 2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8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SAS Blue</a:t>
              </a:r>
            </a:p>
            <a:p>
              <a:pPr marL="0" marR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8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34" charset="0"/>
                  <a:cs typeface="Arial" pitchFamily="34" charset="0"/>
                </a:rPr>
                <a:t>R 0</a:t>
              </a:r>
            </a:p>
            <a:p>
              <a:pPr marL="0" marR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8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G 0</a:t>
              </a:r>
            </a:p>
            <a:p>
              <a:pPr marL="0" marR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8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34" charset="0"/>
                  <a:cs typeface="Arial" pitchFamily="34" charset="0"/>
                </a:rPr>
                <a:t>B 153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6FB843AB-BBC8-46D0-B577-C3F945A5EAB3}"/>
                </a:ext>
              </a:extLst>
            </p:cNvPr>
            <p:cNvSpPr/>
            <p:nvPr/>
          </p:nvSpPr>
          <p:spPr bwMode="auto">
            <a:xfrm>
              <a:off x="1713118" y="4005459"/>
              <a:ext cx="871988" cy="735580"/>
            </a:xfrm>
            <a:prstGeom prst="rect">
              <a:avLst/>
            </a:prstGeom>
            <a:solidFill>
              <a:srgbClr val="0099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8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34" charset="0"/>
                  <a:cs typeface="Arial" pitchFamily="34" charset="0"/>
                </a:rPr>
                <a:t>Accent 1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8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Medium Blue</a:t>
              </a:r>
            </a:p>
            <a:p>
              <a:pPr marL="0" marR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8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34" charset="0"/>
                  <a:cs typeface="Arial" pitchFamily="34" charset="0"/>
                </a:rPr>
                <a:t>R </a:t>
              </a:r>
              <a:r>
                <a:rPr lang="en-US" sz="8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0</a:t>
              </a:r>
              <a:endParaRPr kumimoji="0" lang="en-US" sz="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cs typeface="Arial" pitchFamily="34" charset="0"/>
              </a:endParaRPr>
            </a:p>
            <a:p>
              <a:pPr marL="0" marR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8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G 153</a:t>
              </a:r>
            </a:p>
            <a:p>
              <a:pPr marL="0" marR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8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34" charset="0"/>
                  <a:cs typeface="Arial" pitchFamily="34" charset="0"/>
                </a:rPr>
                <a:t>B 255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695F377D-64F7-46AD-8A45-C6231D938F8E}"/>
                </a:ext>
              </a:extLst>
            </p:cNvPr>
            <p:cNvSpPr/>
            <p:nvPr/>
          </p:nvSpPr>
          <p:spPr bwMode="auto">
            <a:xfrm>
              <a:off x="1713118" y="3211033"/>
              <a:ext cx="871988" cy="735580"/>
            </a:xfrm>
            <a:prstGeom prst="rect">
              <a:avLst/>
            </a:prstGeom>
            <a:solidFill>
              <a:srgbClr val="A7A2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800" dirty="0">
                  <a:latin typeface="Arial" pitchFamily="34" charset="0"/>
                  <a:cs typeface="Arial" pitchFamily="34" charset="0"/>
                </a:rPr>
                <a:t>Text/BG Dark 2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800" dirty="0">
                  <a:latin typeface="Arial" pitchFamily="34" charset="0"/>
                  <a:cs typeface="Arial" pitchFamily="34" charset="0"/>
                </a:rPr>
                <a:t>Dark Grey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800" dirty="0">
                  <a:latin typeface="Arial" pitchFamily="34" charset="0"/>
                  <a:cs typeface="Arial" pitchFamily="34" charset="0"/>
                </a:rPr>
                <a:t>R 167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800" dirty="0">
                  <a:latin typeface="Arial" pitchFamily="34" charset="0"/>
                  <a:cs typeface="Arial" pitchFamily="34" charset="0"/>
                </a:rPr>
                <a:t>G 162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800" dirty="0">
                  <a:latin typeface="Arial" pitchFamily="34" charset="0"/>
                  <a:cs typeface="Arial" pitchFamily="34" charset="0"/>
                </a:rPr>
                <a:t>B 153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5356F16E-8271-48EF-8791-6D1854207770}"/>
                </a:ext>
              </a:extLst>
            </p:cNvPr>
            <p:cNvSpPr/>
            <p:nvPr/>
          </p:nvSpPr>
          <p:spPr bwMode="auto">
            <a:xfrm>
              <a:off x="2642770" y="3211033"/>
              <a:ext cx="871988" cy="735580"/>
            </a:xfrm>
            <a:prstGeom prst="rect">
              <a:avLst/>
            </a:prstGeom>
            <a:solidFill>
              <a:srgbClr val="0033C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0" lang="en-US" sz="8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34" charset="0"/>
                  <a:cs typeface="Arial" pitchFamily="34" charset="0"/>
                </a:rPr>
                <a:t>Accent 3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8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Sky Blue</a:t>
              </a:r>
            </a:p>
            <a:p>
              <a:pPr marL="0" marR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8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34" charset="0"/>
                  <a:cs typeface="Arial" pitchFamily="34" charset="0"/>
                </a:rPr>
                <a:t>R 0</a:t>
              </a:r>
            </a:p>
            <a:p>
              <a:pPr marL="0" marR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8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G 51</a:t>
              </a:r>
            </a:p>
            <a:p>
              <a:pPr marL="0" marR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8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34" charset="0"/>
                  <a:cs typeface="Arial" pitchFamily="34" charset="0"/>
                </a:rPr>
                <a:t>B 204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ED9A900A-BE5D-4BDB-832E-67D60FEED672}"/>
                </a:ext>
              </a:extLst>
            </p:cNvPr>
            <p:cNvSpPr/>
            <p:nvPr/>
          </p:nvSpPr>
          <p:spPr bwMode="auto">
            <a:xfrm>
              <a:off x="783466" y="5573937"/>
              <a:ext cx="3660943" cy="224600"/>
            </a:xfrm>
            <a:prstGeom prst="rect">
              <a:avLst/>
            </a:prstGeom>
            <a:solidFill>
              <a:srgbClr val="00003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0" lang="en-US" sz="8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34" charset="0"/>
                  <a:cs typeface="Arial" pitchFamily="34" charset="0"/>
                </a:rPr>
                <a:t>Dark Blue </a:t>
              </a:r>
              <a:r>
                <a:rPr lang="en-US" sz="8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(not in template, space restrictions) R 0, G 0, B 51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7829A202-D12C-4660-8EEF-EC4A995CAD4D}"/>
                </a:ext>
              </a:extLst>
            </p:cNvPr>
            <p:cNvSpPr/>
            <p:nvPr/>
          </p:nvSpPr>
          <p:spPr bwMode="auto">
            <a:xfrm>
              <a:off x="783466" y="5831608"/>
              <a:ext cx="3660943" cy="224601"/>
            </a:xfrm>
            <a:prstGeom prst="rect">
              <a:avLst/>
            </a:prstGeom>
            <a:solidFill>
              <a:srgbClr val="FF433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0" bIns="72000" numCol="1" rtlCol="0" anchor="ctr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0" lang="en-US" sz="8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34" charset="0"/>
                  <a:cs typeface="Arial" pitchFamily="34" charset="0"/>
                </a:rPr>
                <a:t>Red </a:t>
              </a:r>
              <a:r>
                <a:rPr lang="en-US" sz="8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(not in template, only to be used sparsely) R 255, G 67, B 56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186226E1-B470-47AC-9E00-DD4F97D4A5BA}"/>
                </a:ext>
              </a:extLst>
            </p:cNvPr>
            <p:cNvSpPr/>
            <p:nvPr/>
          </p:nvSpPr>
          <p:spPr bwMode="auto">
            <a:xfrm>
              <a:off x="3572421" y="4005459"/>
              <a:ext cx="871988" cy="735580"/>
            </a:xfrm>
            <a:prstGeom prst="rect">
              <a:avLst/>
            </a:prstGeom>
            <a:solidFill>
              <a:schemeClr val="accent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8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Hyperlink</a:t>
              </a:r>
              <a:endParaRPr kumimoji="0" lang="en-US" sz="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cs typeface="Arial" pitchFamily="34" charset="0"/>
              </a:endParaRP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8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Deep Blue</a:t>
              </a:r>
            </a:p>
            <a:p>
              <a:pPr marL="0" marR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8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34" charset="0"/>
                  <a:cs typeface="Arial" pitchFamily="34" charset="0"/>
                </a:rPr>
                <a:t>R 0</a:t>
              </a:r>
            </a:p>
            <a:p>
              <a:pPr marL="0" marR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8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G 0</a:t>
              </a:r>
            </a:p>
            <a:p>
              <a:pPr marL="0" marR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8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34" charset="0"/>
                  <a:cs typeface="Arial" pitchFamily="34" charset="0"/>
                </a:rPr>
                <a:t>B 102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CA4ECB42-0C0F-456B-9A07-5AF01138D150}"/>
                </a:ext>
              </a:extLst>
            </p:cNvPr>
            <p:cNvSpPr/>
            <p:nvPr/>
          </p:nvSpPr>
          <p:spPr bwMode="auto">
            <a:xfrm>
              <a:off x="3572421" y="4787943"/>
              <a:ext cx="871988" cy="735580"/>
            </a:xfrm>
            <a:prstGeom prst="rect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8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Fol. hyperlink</a:t>
              </a:r>
              <a:endParaRPr kumimoji="0" lang="en-US" sz="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cs typeface="Arial" pitchFamily="34" charset="0"/>
              </a:endParaRP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8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Sand</a:t>
              </a:r>
            </a:p>
            <a:p>
              <a:pPr marL="0" marR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8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34" charset="0"/>
                  <a:cs typeface="Arial" pitchFamily="34" charset="0"/>
                </a:rPr>
                <a:t>R 202</a:t>
              </a:r>
            </a:p>
            <a:p>
              <a:pPr marL="0" marR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8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G 169</a:t>
              </a:r>
            </a:p>
            <a:p>
              <a:pPr marL="0" marR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8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34" charset="0"/>
                  <a:cs typeface="Arial" pitchFamily="34" charset="0"/>
                </a:rPr>
                <a:t>B </a:t>
              </a:r>
              <a:r>
                <a:rPr lang="en-US" sz="8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119</a:t>
              </a:r>
              <a:endParaRPr kumimoji="0" lang="en-US" sz="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3" name="Text Box 2">
            <a:extLst>
              <a:ext uri="{FF2B5EF4-FFF2-40B4-BE49-F238E27FC236}">
                <a16:creationId xmlns:a16="http://schemas.microsoft.com/office/drawing/2014/main" id="{1E5C662C-8303-4FA2-B52F-C84BA1D71DE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825129" y="1309491"/>
            <a:ext cx="6169002" cy="4801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altLang="da-DK" sz="1200" b="1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CK BRAND IDENTITY GUIDE FOR PRESENTATIONS – DOS AND DON’TS</a:t>
            </a:r>
            <a:br>
              <a:rPr lang="en-GB" altLang="da-DK" sz="900" b="1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altLang="da-DK" sz="1000" b="1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="1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S</a:t>
            </a:r>
          </a:p>
          <a:p>
            <a:pPr marL="0" indent="0" eaLnBrk="1" hangingPunct="1">
              <a:spcAft>
                <a:spcPts val="600"/>
              </a:spcAft>
              <a:buNone/>
              <a:defRPr/>
            </a:pPr>
            <a:r>
              <a:rPr lang="en-GB" altLang="da-DK" sz="10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Use our icons to make you presentation more pedagocial.</a:t>
            </a:r>
          </a:p>
          <a:p>
            <a:pPr marL="0" indent="0" eaLnBrk="1" hangingPunct="1">
              <a:spcAft>
                <a:spcPts val="600"/>
              </a:spcAft>
              <a:buNone/>
              <a:defRPr/>
            </a:pPr>
            <a:r>
              <a:rPr lang="en-GB" altLang="da-DK" sz="10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Use our images found in our Image Bank.</a:t>
            </a:r>
          </a:p>
          <a:p>
            <a:pPr marL="0" indent="0" eaLnBrk="1" hangingPunct="1">
              <a:spcAft>
                <a:spcPts val="600"/>
              </a:spcAft>
              <a:buNone/>
              <a:defRPr/>
            </a:pPr>
            <a:r>
              <a:rPr lang="en-GB" altLang="da-DK" sz="10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Try to use the Layouts in the template instead of using a list of bullets on all slides.</a:t>
            </a:r>
          </a:p>
          <a:p>
            <a:pPr marL="0" indent="0" eaLnBrk="1" hangingPunct="1">
              <a:spcAft>
                <a:spcPts val="600"/>
              </a:spcAft>
              <a:buNone/>
              <a:defRPr/>
            </a:pPr>
            <a:r>
              <a:rPr lang="en-GB" altLang="da-DK" sz="10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 Try to keep the design clean and simple – no excessive lines on charts, boxes or likewise.</a:t>
            </a:r>
          </a:p>
          <a:p>
            <a:pPr marL="0" indent="0" eaLnBrk="1" hangingPunct="1">
              <a:spcAft>
                <a:spcPts val="600"/>
              </a:spcAft>
              <a:buNone/>
              <a:defRPr/>
            </a:pPr>
            <a:r>
              <a:rPr lang="en-GB" altLang="da-DK" sz="10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. Always consider optimal readability.</a:t>
            </a:r>
          </a:p>
          <a:p>
            <a:pPr marL="0" indent="0" eaLnBrk="1" hangingPunct="1">
              <a:spcAft>
                <a:spcPts val="600"/>
              </a:spcAft>
              <a:buNone/>
              <a:defRPr/>
            </a:pPr>
            <a:r>
              <a:rPr lang="en-GB" altLang="da-DK" sz="10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. To add an element of design, use the Blue on Blue concept (different blue color of text and background) or the color Sand on a Deep blue background, for headings/graphical elements – if readability is ensured.</a:t>
            </a:r>
            <a:br>
              <a:rPr lang="en-GB" altLang="da-DK" sz="1000" b="1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altLang="da-DK" sz="1000" b="1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="1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’T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0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Never use shadows or reflections (eg. shapes, pictures or text boxes)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0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Never use oval shapes, only round circles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0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Do not use gradient fill or any other 3D-format – only solid color fill or in some cases pictures as filling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0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 Do not use rounded corners or blurred edges on boxes or pictures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0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. Do not use transparent color boxes, only use solid fill in boxes/shapes as background for text. However, you can use transparent shapes covering an entire slide or image to increase readability. 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0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. Avoid using italics if not necessary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0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. Avoid using lines on edges of shapes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0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. Avoid rotating bodies of text, shapes and pictures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0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. Avoid using the red color – only sparsely and in specific cases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0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. Avoid using small pictures, as well as too many pictures on the same slide.</a:t>
            </a:r>
          </a:p>
        </p:txBody>
      </p:sp>
      <p:sp>
        <p:nvSpPr>
          <p:cNvPr id="34" name="Title 4">
            <a:extLst>
              <a:ext uri="{FF2B5EF4-FFF2-40B4-BE49-F238E27FC236}">
                <a16:creationId xmlns:a16="http://schemas.microsoft.com/office/drawing/2014/main" id="{A2D0AF50-C82F-4217-9A3E-60460A617AF8}"/>
              </a:ext>
            </a:extLst>
          </p:cNvPr>
          <p:cNvSpPr txBox="1">
            <a:spLocks/>
          </p:cNvSpPr>
          <p:nvPr userDrawn="1"/>
        </p:nvSpPr>
        <p:spPr>
          <a:xfrm>
            <a:off x="744194" y="486338"/>
            <a:ext cx="10706788" cy="6124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088959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User guide Brand Identity – delete before us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35078282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1CA837-78CE-466E-AD7C-3C8ABAF6F5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4" name="Text Box 2">
            <a:extLst>
              <a:ext uri="{FF2B5EF4-FFF2-40B4-BE49-F238E27FC236}">
                <a16:creationId xmlns:a16="http://schemas.microsoft.com/office/drawing/2014/main" id="{FB2AAE32-5CA2-4258-8F26-AE5BB600840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846195" y="1890098"/>
            <a:ext cx="216079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b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Box 3">
            <a:extLst>
              <a:ext uri="{FF2B5EF4-FFF2-40B4-BE49-F238E27FC236}">
                <a16:creationId xmlns:a16="http://schemas.microsoft.com/office/drawing/2014/main" id="{AC5565B1-1C7F-4188-8C88-60B649CE803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56718" y="1271797"/>
            <a:ext cx="2382319" cy="47089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1100" b="1" dirty="0">
                <a:solidFill>
                  <a:schemeClr val="accent4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INSERT/CHANGE SLIDE LAYOUT</a:t>
            </a:r>
            <a:br>
              <a:rPr lang="en-GB" sz="1100" b="0" noProof="1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br>
              <a:rPr lang="en-GB" sz="1100" b="0" noProof="1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en-GB" sz="1100" b="1" dirty="0">
                <a:solidFill>
                  <a:schemeClr val="accent4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1. </a:t>
            </a:r>
            <a:r>
              <a:rPr lang="en-GB" sz="1100" dirty="0">
                <a:solidFill>
                  <a:schemeClr val="accent4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lick on the arrow next to </a:t>
            </a:r>
            <a:r>
              <a:rPr lang="en-GB" sz="1100" b="1" dirty="0">
                <a:solidFill>
                  <a:schemeClr val="accent4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Layout</a:t>
            </a:r>
            <a:br>
              <a:rPr lang="en-GB" sz="1100" b="1" dirty="0">
                <a:solidFill>
                  <a:schemeClr val="accent4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</a:br>
            <a:r>
              <a:rPr lang="en-GB" sz="1100" dirty="0">
                <a:solidFill>
                  <a:schemeClr val="accent4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to view a dropdown menu of possible slide layouts</a:t>
            </a:r>
            <a:br>
              <a:rPr lang="en-GB" sz="1100" b="0" dirty="0">
                <a:solidFill>
                  <a:schemeClr val="accent4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</a:br>
            <a:r>
              <a:rPr lang="en-GB" sz="1100" b="1" dirty="0">
                <a:solidFill>
                  <a:schemeClr val="accent4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2. </a:t>
            </a:r>
            <a:r>
              <a:rPr lang="en-GB" sz="1100" dirty="0">
                <a:solidFill>
                  <a:schemeClr val="accent4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lick on the layout you prefer and it will be applied to the new slide</a:t>
            </a:r>
            <a:endParaRPr lang="en-GB" sz="1100" dirty="0">
              <a:solidFill>
                <a:schemeClr val="accent4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1100" b="1" noProof="1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100" b="1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T BACKGROUND</a:t>
            </a:r>
            <a:br>
              <a:rPr lang="en-GB" altLang="da-DK" sz="1100" b="1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altLang="da-DK" sz="1100" b="1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1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right and chose </a:t>
            </a:r>
            <a:r>
              <a:rPr lang="en-GB" altLang="da-DK" sz="1100" b="1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t background</a:t>
            </a:r>
            <a:r>
              <a:rPr lang="en-GB" altLang="da-DK" sz="11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a menu will appear. 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100" b="1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ored background</a:t>
            </a:r>
            <a:br>
              <a:rPr lang="en-GB" altLang="da-DK" sz="11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1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ke sure that the circle </a:t>
            </a:r>
            <a:r>
              <a:rPr lang="en-GB" altLang="da-DK" sz="1100" b="1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id fill </a:t>
            </a:r>
            <a:r>
              <a:rPr lang="en-GB" altLang="da-DK" sz="11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 ticked, then chose the color of your choice. </a:t>
            </a:r>
            <a:r>
              <a:rPr lang="en-US" altLang="da-DK" sz="11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want to hide the logo, click </a:t>
            </a:r>
            <a:r>
              <a:rPr lang="en-US" altLang="da-DK" sz="1100" b="1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de background graphics.</a:t>
            </a:r>
            <a:br>
              <a:rPr lang="en-US" altLang="da-DK" sz="1100" b="1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altLang="da-DK" sz="1100" b="1" noProof="1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100" b="1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cture background</a:t>
            </a:r>
            <a:br>
              <a:rPr lang="en-GB" altLang="da-DK" sz="1100" b="1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1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tead of Solid fill, check the circle </a:t>
            </a:r>
            <a:r>
              <a:rPr lang="en-GB" altLang="da-DK" sz="1100" b="1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cture or texture fill</a:t>
            </a:r>
            <a:r>
              <a:rPr lang="en-GB" altLang="da-DK" sz="11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Press insert a picture from file – or just press Clipboard and the picture that was last copied will appear as background.</a:t>
            </a:r>
          </a:p>
        </p:txBody>
      </p:sp>
      <p:sp>
        <p:nvSpPr>
          <p:cNvPr id="6" name="Text Box 4">
            <a:extLst>
              <a:ext uri="{FF2B5EF4-FFF2-40B4-BE49-F238E27FC236}">
                <a16:creationId xmlns:a16="http://schemas.microsoft.com/office/drawing/2014/main" id="{859655C3-630A-43D4-AB7B-FA7C1E260FF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831022" y="1271797"/>
            <a:ext cx="2385180" cy="47089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100" b="1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GN OBJECT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sz="11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lign objects, click on the object, press </a:t>
            </a:r>
            <a:r>
              <a:rPr lang="en-GB" sz="1100" b="1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gn</a:t>
            </a:r>
            <a:r>
              <a:rPr lang="en-GB" sz="11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and chose the option you prefer. </a:t>
            </a:r>
            <a:br>
              <a:rPr lang="en-GB" sz="11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sz="11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1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make the distances between objects the same </a:t>
            </a:r>
            <a:r>
              <a:rPr lang="en-GB" sz="1100" b="1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gn </a:t>
            </a:r>
            <a:r>
              <a:rPr lang="en-GB" sz="11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n </a:t>
            </a:r>
            <a:r>
              <a:rPr lang="en-GB" sz="1100" b="1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tribute horizontally/vertically</a:t>
            </a:r>
            <a:r>
              <a:rPr lang="en-GB" sz="11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br>
              <a:rPr lang="en-GB" sz="11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sz="1100" b="0" noProof="1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1100" b="1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ortcuts</a:t>
            </a:r>
            <a:br>
              <a:rPr lang="en-GB" sz="11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1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y pressing </a:t>
            </a:r>
            <a:r>
              <a:rPr lang="en-GB" sz="1100" b="1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en-GB" sz="11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you can move objects in vertical or horizontal ways, whilst keeping it on the same level. </a:t>
            </a:r>
            <a:br>
              <a:rPr lang="en-GB" sz="11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sz="11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1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y pressing </a:t>
            </a:r>
            <a:r>
              <a:rPr lang="en-GB" sz="1100" b="1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+fn+Shift, </a:t>
            </a:r>
            <a:r>
              <a:rPr lang="en-GB" sz="11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 can drag and copy an object whilst keeping it on the same level.</a:t>
            </a:r>
          </a:p>
          <a:p>
            <a:pPr eaLnBrk="1" hangingPunct="1">
              <a:spcAft>
                <a:spcPts val="600"/>
              </a:spcAft>
              <a:defRPr/>
            </a:pPr>
            <a:br>
              <a:rPr lang="en-GB" sz="1100" b="1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100" b="1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1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view drawing guides press </a:t>
            </a:r>
            <a:br>
              <a:rPr lang="en-GB" altLang="da-DK" sz="11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100" b="1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 + F9</a:t>
            </a:r>
            <a:br>
              <a:rPr lang="en-GB" altLang="da-DK" sz="1100" b="1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altLang="da-DK" sz="1100" b="1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100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insert grids, click right, press grids and guides and press Add vertical grid or Add horizontal grid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D69455B-8B0B-4E28-B806-E9AB5418F874}"/>
              </a:ext>
            </a:extLst>
          </p:cNvPr>
          <p:cNvGrpSpPr/>
          <p:nvPr userDrawn="1"/>
        </p:nvGrpSpPr>
        <p:grpSpPr>
          <a:xfrm>
            <a:off x="3016782" y="1266705"/>
            <a:ext cx="2653082" cy="2723030"/>
            <a:chOff x="2811380" y="1243591"/>
            <a:chExt cx="2725124" cy="2796971"/>
          </a:xfrm>
        </p:grpSpPr>
        <p:pic>
          <p:nvPicPr>
            <p:cNvPr id="9" name="3 Layout">
              <a:extLst>
                <a:ext uri="{FF2B5EF4-FFF2-40B4-BE49-F238E27FC236}">
                  <a16:creationId xmlns:a16="http://schemas.microsoft.com/office/drawing/2014/main" id="{D2167E94-4FD9-4DAB-A1F8-B82BEE38050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811380" y="1243591"/>
              <a:ext cx="883323" cy="286136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FAB89F85-4A48-4344-83A4-6FD9E7D1418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878186" y="1600549"/>
              <a:ext cx="2657250" cy="1471836"/>
            </a:xfrm>
            <a:prstGeom prst="rect">
              <a:avLst/>
            </a:prstGeom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3FD51BEE-A93D-4C24-8821-628CE040414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889979" y="2713932"/>
              <a:ext cx="2646525" cy="132663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7FD5C450-EA2D-498E-ADC9-A08C53DF50F5}"/>
              </a:ext>
            </a:extLst>
          </p:cNvPr>
          <p:cNvGrpSpPr/>
          <p:nvPr userDrawn="1"/>
        </p:nvGrpSpPr>
        <p:grpSpPr>
          <a:xfrm>
            <a:off x="3043179" y="4234542"/>
            <a:ext cx="2664564" cy="1865633"/>
            <a:chOff x="2889439" y="4180252"/>
            <a:chExt cx="2742104" cy="1919924"/>
          </a:xfrm>
        </p:grpSpPr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7FBCE9EB-0B17-44CC-A530-6366BA61F7C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889439" y="4180252"/>
              <a:ext cx="1585324" cy="1919924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B1C23B55-F73C-4EA6-8EA2-A82987811DA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528869" y="5032717"/>
              <a:ext cx="1102674" cy="1053815"/>
            </a:xfrm>
            <a:prstGeom prst="rect">
              <a:avLst/>
            </a:prstGeom>
          </p:spPr>
        </p:pic>
      </p:grpSp>
      <p:sp>
        <p:nvSpPr>
          <p:cNvPr id="29" name="Title 4">
            <a:extLst>
              <a:ext uri="{FF2B5EF4-FFF2-40B4-BE49-F238E27FC236}">
                <a16:creationId xmlns:a16="http://schemas.microsoft.com/office/drawing/2014/main" id="{5DF9B9AC-CAF0-42E7-9B05-DEF805E39C13}"/>
              </a:ext>
            </a:extLst>
          </p:cNvPr>
          <p:cNvSpPr txBox="1">
            <a:spLocks/>
          </p:cNvSpPr>
          <p:nvPr userDrawn="1"/>
        </p:nvSpPr>
        <p:spPr>
          <a:xfrm>
            <a:off x="744194" y="486338"/>
            <a:ext cx="10706788" cy="6124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088959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User guide PowerPoint – delete before use</a:t>
            </a:r>
            <a:endParaRPr lang="sv-SE" dirty="0"/>
          </a:p>
        </p:txBody>
      </p:sp>
      <p:pic>
        <p:nvPicPr>
          <p:cNvPr id="20" name="5 Insert picture">
            <a:extLst>
              <a:ext uri="{FF2B5EF4-FFF2-40B4-BE49-F238E27FC236}">
                <a16:creationId xmlns:a16="http://schemas.microsoft.com/office/drawing/2014/main" id="{6C66CC67-6DD8-46A7-8213-EAE984D7BEF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32748" y="1270914"/>
            <a:ext cx="386718" cy="377560"/>
          </a:xfrm>
          <a:prstGeom prst="rect">
            <a:avLst/>
          </a:prstGeom>
        </p:spPr>
      </p:pic>
      <p:pic>
        <p:nvPicPr>
          <p:cNvPr id="21" name="6 Crop">
            <a:extLst>
              <a:ext uri="{FF2B5EF4-FFF2-40B4-BE49-F238E27FC236}">
                <a16:creationId xmlns:a16="http://schemas.microsoft.com/office/drawing/2014/main" id="{68D8DAE7-8C97-44D8-B082-319933004BDD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117791" y="2206669"/>
            <a:ext cx="516149" cy="491929"/>
          </a:xfrm>
          <a:prstGeom prst="rect">
            <a:avLst/>
          </a:prstGeom>
        </p:spPr>
      </p:pic>
      <p:pic>
        <p:nvPicPr>
          <p:cNvPr id="24" name="7 Scale picture">
            <a:extLst>
              <a:ext uri="{FF2B5EF4-FFF2-40B4-BE49-F238E27FC236}">
                <a16:creationId xmlns:a16="http://schemas.microsoft.com/office/drawing/2014/main" id="{F4349994-FCD0-441D-A154-C593EEFAFC5E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11613" y="3054421"/>
            <a:ext cx="409741" cy="381797"/>
          </a:xfrm>
          <a:prstGeom prst="rect">
            <a:avLst/>
          </a:prstGeom>
        </p:spPr>
      </p:pic>
      <p:sp>
        <p:nvSpPr>
          <p:cNvPr id="27" name="Text Box 3">
            <a:extLst>
              <a:ext uri="{FF2B5EF4-FFF2-40B4-BE49-F238E27FC236}">
                <a16:creationId xmlns:a16="http://schemas.microsoft.com/office/drawing/2014/main" id="{240E02DC-A582-4BCF-8D26-ACFE3D248AE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866946" y="1270915"/>
            <a:ext cx="2382319" cy="4936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39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99" b="1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099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slides with picture placeholder, click on the icon and choose </a:t>
            </a:r>
            <a:r>
              <a:rPr lang="en-GB" altLang="da-DK" sz="1099" b="1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.</a:t>
            </a:r>
            <a:endParaRPr lang="en-GB" sz="1099" b="1" noProof="1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br>
              <a:rPr lang="en-GB" sz="1099" b="1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99" b="1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099" b="1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1099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altLang="da-DK" sz="1099" b="1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</a:t>
            </a:r>
            <a:r>
              <a:rPr lang="en-GB" altLang="da-DK" sz="1099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hange size or focus.</a:t>
            </a:r>
            <a:br>
              <a:rPr lang="en-GB" altLang="da-DK" sz="1099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99" b="1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1099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want to scale the picture, hold </a:t>
            </a:r>
            <a:r>
              <a:rPr lang="en-GB" altLang="da-DK" sz="1099" b="1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en-GB" altLang="da-DK" sz="1099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 down while dragging the corners of the pictur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099" b="1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EMBER</a:t>
            </a:r>
            <a:r>
              <a:rPr lang="en-GB" altLang="da-DK" sz="1099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ompress pictures to keep the size of the presentation manageable (below 20MB prefered)</a:t>
            </a:r>
            <a:br>
              <a:rPr lang="en-GB" altLang="da-DK" sz="1099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altLang="da-DK" sz="1099" b="0" noProof="1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099" b="1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 TO SHAP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099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 the picture to a square before cropping it to a circle – we do not use ovals.</a:t>
            </a:r>
            <a:br>
              <a:rPr lang="en-GB" altLang="da-DK" sz="1099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altLang="da-DK" sz="1099" b="1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99" b="1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1099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arrow below the crop button and chose</a:t>
            </a:r>
            <a:r>
              <a:rPr lang="en-GB" altLang="da-DK" sz="1099" b="1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spect ratio, </a:t>
            </a:r>
            <a:r>
              <a:rPr lang="en-GB" altLang="da-DK" sz="1099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n chose </a:t>
            </a:r>
            <a:r>
              <a:rPr lang="en-GB" altLang="da-DK" sz="1099" b="1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:1</a:t>
            </a:r>
            <a:br>
              <a:rPr lang="en-GB" altLang="da-DK" sz="1099" b="1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99" b="1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1099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arrow below the crop button, chose </a:t>
            </a:r>
            <a:r>
              <a:rPr lang="en-GB" altLang="da-DK" sz="1099" b="1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 to shape </a:t>
            </a:r>
            <a:r>
              <a:rPr lang="en-GB" altLang="da-DK" sz="1099" b="0" noProof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chose circle, or desired shape.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1099" b="0" noProof="1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91217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fld id="{F7DC6A67-F745-42FE-82D1-7A561047EC3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541773" y="6332029"/>
            <a:ext cx="6288137" cy="214462"/>
          </a:xfrm>
        </p:spPr>
        <p:txBody>
          <a:bodyPr>
            <a:normAutofit/>
          </a:bodyPr>
          <a:lstStyle>
            <a:lvl1pPr>
              <a:buFontTx/>
              <a:buNone/>
              <a:defRPr sz="14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Autho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41773" y="2343597"/>
            <a:ext cx="8906319" cy="612425"/>
          </a:xfrm>
        </p:spPr>
        <p:txBody>
          <a:bodyPr>
            <a:noAutofit/>
          </a:bodyPr>
          <a:lstStyle>
            <a:lvl1pPr marL="0" indent="0" algn="l">
              <a:buNone/>
              <a:defRPr sz="2100" cap="all" baseline="0">
                <a:solidFill>
                  <a:schemeClr val="accent4"/>
                </a:solidFill>
                <a:latin typeface="Arial Black" pitchFamily="34" charset="0"/>
              </a:defRPr>
            </a:lvl1pPr>
            <a:lvl2pPr marL="5444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9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4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9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23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8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13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41773" y="1381599"/>
            <a:ext cx="8906319" cy="961998"/>
          </a:xfrm>
        </p:spPr>
        <p:txBody>
          <a:bodyPr anchor="b" anchorCtr="0"/>
          <a:lstStyle>
            <a:lvl1pPr>
              <a:defRPr sz="2900" cap="all" baseline="0">
                <a:solidFill>
                  <a:schemeClr val="accent2"/>
                </a:solidFill>
                <a:latin typeface="Arial Black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541773" y="2956022"/>
            <a:ext cx="8906319" cy="360250"/>
          </a:xfrm>
        </p:spPr>
        <p:txBody>
          <a:bodyPr/>
          <a:lstStyle>
            <a:lvl1pPr>
              <a:buFontTx/>
              <a:buNone/>
              <a:defRPr b="0" baseline="0">
                <a:latin typeface="Arial Black" pitchFamily="34" charset="0"/>
              </a:defRPr>
            </a:lvl1pPr>
          </a:lstStyle>
          <a:p>
            <a:pPr lvl="0"/>
            <a:r>
              <a:rPr lang="en-US" dirty="0"/>
              <a:t>Date in format DD.MM.YYYY </a:t>
            </a:r>
          </a:p>
        </p:txBody>
      </p:sp>
      <p:pic>
        <p:nvPicPr>
          <p:cNvPr id="7" name="Picture 9" descr="liten SA Logo.png">
            <a:extLst>
              <a:ext uri="{FF2B5EF4-FFF2-40B4-BE49-F238E27FC236}">
                <a16:creationId xmlns:a16="http://schemas.microsoft.com/office/drawing/2014/main" id="{3AC309CE-AD3D-4EE3-A358-418DE86C563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6621" y="6284235"/>
            <a:ext cx="1944000" cy="292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578117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3042725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6237170" y="1693177"/>
            <a:ext cx="5213811" cy="402580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4194" y="1693177"/>
            <a:ext cx="5213811" cy="402580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731715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fld id="{F7DC6A67-F745-42FE-82D1-7A561047EC3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39885535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5175" cy="5944125"/>
          </a:xfrm>
          <a:solidFill>
            <a:srgbClr val="A7A299"/>
          </a:solidFill>
          <a:ln>
            <a:noFill/>
          </a:ln>
        </p:spPr>
        <p:txBody>
          <a:bodyPr anchor="ctr" anchorCtr="0"/>
          <a:lstStyle>
            <a:lvl1pPr algn="ctr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2544663" y="6340401"/>
            <a:ext cx="6288137" cy="214462"/>
          </a:xfrm>
        </p:spPr>
        <p:txBody>
          <a:bodyPr>
            <a:normAutofit/>
          </a:bodyPr>
          <a:lstStyle>
            <a:lvl1pPr>
              <a:buFontTx/>
              <a:buNone/>
              <a:defRPr sz="14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Author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621125"/>
            <a:ext cx="960250" cy="360250"/>
          </a:xfrm>
        </p:spPr>
        <p:txBody>
          <a:bodyPr>
            <a:normAutofit/>
          </a:bodyPr>
          <a:lstStyle>
            <a:lvl1pPr>
              <a:buFontTx/>
              <a:buNone/>
              <a:defRPr sz="19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1.0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44662" y="1891313"/>
            <a:ext cx="8906319" cy="612425"/>
          </a:xfrm>
        </p:spPr>
        <p:txBody>
          <a:bodyPr>
            <a:noAutofit/>
          </a:bodyPr>
          <a:lstStyle>
            <a:lvl1pPr marL="0" indent="0" algn="l">
              <a:buNone/>
              <a:defRPr sz="2100" cap="all" baseline="0">
                <a:solidFill>
                  <a:schemeClr val="accent4"/>
                </a:solidFill>
                <a:latin typeface="Arial Black" pitchFamily="34" charset="0"/>
              </a:defRPr>
            </a:lvl1pPr>
            <a:lvl2pPr marL="5444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9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4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9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23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8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13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44662" y="929445"/>
            <a:ext cx="8906319" cy="961868"/>
          </a:xfrm>
        </p:spPr>
        <p:txBody>
          <a:bodyPr anchor="b" anchorCtr="0"/>
          <a:lstStyle>
            <a:lvl1pPr>
              <a:defRPr sz="2900" cap="all" baseline="0">
                <a:latin typeface="Arial Black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2544662" y="2503738"/>
            <a:ext cx="8906319" cy="360250"/>
          </a:xfrm>
        </p:spPr>
        <p:txBody>
          <a:bodyPr/>
          <a:lstStyle>
            <a:lvl1pPr>
              <a:buFontTx/>
              <a:buNone/>
              <a:defRPr>
                <a:latin typeface="Arial Black" pitchFamily="34" charset="0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/>
              <a:t>Date in format DD.MM.YYYY </a:t>
            </a:r>
          </a:p>
        </p:txBody>
      </p:sp>
      <p:pic>
        <p:nvPicPr>
          <p:cNvPr id="10" name="Picture 9" descr="färg SAS_L1_B3_RGB_LOCK2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4000" y="6264000"/>
            <a:ext cx="1981204" cy="3505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96002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fld id="{F7DC6A67-F745-42FE-82D1-7A561047EC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3502869"/>
            <a:ext cx="10706788" cy="643389"/>
          </a:xfrm>
        </p:spPr>
        <p:txBody>
          <a:bodyPr anchor="t"/>
          <a:lstStyle>
            <a:lvl1pPr algn="ctr">
              <a:defRPr sz="1900" b="1" cap="none" baseline="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4194" y="1358241"/>
            <a:ext cx="10706788" cy="1925409"/>
          </a:xfrm>
        </p:spPr>
        <p:txBody>
          <a:bodyPr anchor="b">
            <a:noAutofit/>
          </a:bodyPr>
          <a:lstStyle>
            <a:lvl1pPr marL="0" indent="0" algn="ctr">
              <a:buNone/>
              <a:defRPr sz="4800" cap="all" baseline="0">
                <a:solidFill>
                  <a:schemeClr val="accent2"/>
                </a:solidFill>
                <a:latin typeface="Arial Black" pitchFamily="34" charset="0"/>
              </a:defRPr>
            </a:lvl1pPr>
            <a:lvl2pPr marL="544479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8895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3343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4pPr>
            <a:lvl5pPr marL="217791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5pPr>
            <a:lvl6pPr marL="2722397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6pPr>
            <a:lvl7pPr marL="3266877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7pPr>
            <a:lvl8pPr marL="3811356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8pPr>
            <a:lvl9pPr marL="4355836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617212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4_Quot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fld id="{F7DC6A67-F745-42FE-82D1-7A561047EC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3502869"/>
            <a:ext cx="10706788" cy="643389"/>
          </a:xfrm>
        </p:spPr>
        <p:txBody>
          <a:bodyPr anchor="t"/>
          <a:lstStyle>
            <a:lvl1pPr algn="ctr">
              <a:defRPr sz="1900" b="1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4194" y="1358241"/>
            <a:ext cx="10706788" cy="1925409"/>
          </a:xfrm>
        </p:spPr>
        <p:txBody>
          <a:bodyPr anchor="b">
            <a:noAutofit/>
          </a:bodyPr>
          <a:lstStyle>
            <a:lvl1pPr marL="0" indent="0" algn="ctr">
              <a:buNone/>
              <a:defRPr sz="4800" cap="all" baseline="0">
                <a:solidFill>
                  <a:schemeClr val="accent5"/>
                </a:solidFill>
                <a:latin typeface="Arial Black" pitchFamily="34" charset="0"/>
              </a:defRPr>
            </a:lvl1pPr>
            <a:lvl2pPr marL="544479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8895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3343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4pPr>
            <a:lvl5pPr marL="217791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5pPr>
            <a:lvl6pPr marL="2722397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6pPr>
            <a:lvl7pPr marL="3266877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7pPr>
            <a:lvl8pPr marL="3811356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8pPr>
            <a:lvl9pPr marL="4355836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9892333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fld id="{F7DC6A67-F745-42FE-82D1-7A561047EC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DE4D834-5DC7-488A-AE34-404743A852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4194" y="3502869"/>
            <a:ext cx="10706788" cy="643389"/>
          </a:xfrm>
        </p:spPr>
        <p:txBody>
          <a:bodyPr anchor="t"/>
          <a:lstStyle>
            <a:lvl1pPr algn="ctr">
              <a:defRPr sz="1900" b="1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0CC34F9-A81C-4CE1-B660-3B51830074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44194" y="1358241"/>
            <a:ext cx="10706788" cy="1925409"/>
          </a:xfrm>
        </p:spPr>
        <p:txBody>
          <a:bodyPr anchor="b">
            <a:noAutofit/>
          </a:bodyPr>
          <a:lstStyle>
            <a:lvl1pPr marL="0" indent="0" algn="ctr">
              <a:buNone/>
              <a:defRPr sz="4800" cap="all" baseline="0">
                <a:solidFill>
                  <a:schemeClr val="accent2"/>
                </a:solidFill>
                <a:latin typeface="Arial Black" pitchFamily="34" charset="0"/>
              </a:defRPr>
            </a:lvl1pPr>
            <a:lvl2pPr marL="544479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8895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3343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4pPr>
            <a:lvl5pPr marL="217791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5pPr>
            <a:lvl6pPr marL="2722397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6pPr>
            <a:lvl7pPr marL="3266877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7pPr>
            <a:lvl8pPr marL="3811356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8pPr>
            <a:lvl9pPr marL="4355836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0734507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ground SAS Gradient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fld id="{F7DC6A67-F745-42FE-82D1-7A561047EC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697609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ground deep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fld id="{F7DC6A67-F745-42FE-82D1-7A561047EC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65130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5175" cy="5944125"/>
          </a:xfrm>
          <a:solidFill>
            <a:srgbClr val="A7A299"/>
          </a:solidFill>
          <a:ln>
            <a:noFill/>
          </a:ln>
        </p:spPr>
        <p:txBody>
          <a:bodyPr anchor="ctr" anchorCtr="0"/>
          <a:lstStyle>
            <a:lvl1pPr algn="ctr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2544663" y="6340401"/>
            <a:ext cx="6288137" cy="214462"/>
          </a:xfrm>
        </p:spPr>
        <p:txBody>
          <a:bodyPr>
            <a:normAutofit/>
          </a:bodyPr>
          <a:lstStyle>
            <a:lvl1pPr>
              <a:buFontTx/>
              <a:buNone/>
              <a:defRPr sz="14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Author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621125"/>
            <a:ext cx="960250" cy="360250"/>
          </a:xfrm>
        </p:spPr>
        <p:txBody>
          <a:bodyPr>
            <a:normAutofit/>
          </a:bodyPr>
          <a:lstStyle>
            <a:lvl1pPr>
              <a:buFontTx/>
              <a:buNone/>
              <a:defRPr sz="19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1.0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44662" y="1891313"/>
            <a:ext cx="8906319" cy="612425"/>
          </a:xfrm>
        </p:spPr>
        <p:txBody>
          <a:bodyPr>
            <a:noAutofit/>
          </a:bodyPr>
          <a:lstStyle>
            <a:lvl1pPr marL="0" indent="0" algn="l">
              <a:buNone/>
              <a:defRPr sz="2100" cap="all" baseline="0">
                <a:solidFill>
                  <a:schemeClr val="accent4"/>
                </a:solidFill>
                <a:latin typeface="Arial Black" pitchFamily="34" charset="0"/>
              </a:defRPr>
            </a:lvl1pPr>
            <a:lvl2pPr marL="5444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9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4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9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23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8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13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44662" y="929445"/>
            <a:ext cx="8906319" cy="961868"/>
          </a:xfrm>
        </p:spPr>
        <p:txBody>
          <a:bodyPr anchor="b" anchorCtr="0"/>
          <a:lstStyle>
            <a:lvl1pPr>
              <a:defRPr sz="2900" cap="all" baseline="0">
                <a:latin typeface="Arial Black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2544662" y="2503738"/>
            <a:ext cx="8906319" cy="360250"/>
          </a:xfrm>
        </p:spPr>
        <p:txBody>
          <a:bodyPr/>
          <a:lstStyle>
            <a:lvl1pPr>
              <a:buFontTx/>
              <a:buNone/>
              <a:defRPr>
                <a:latin typeface="Arial Black" pitchFamily="34" charset="0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/>
              <a:t>Date in format DD.MM.YYYY </a:t>
            </a:r>
          </a:p>
        </p:txBody>
      </p:sp>
      <p:pic>
        <p:nvPicPr>
          <p:cNvPr id="10" name="Picture 9" descr="färg SAS_L1_B3_RGB_LOCK2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4000" y="6264000"/>
            <a:ext cx="1981204" cy="35052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ckground SAS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fld id="{F7DC6A67-F745-42FE-82D1-7A561047EC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754690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309359" y="-1"/>
            <a:ext cx="5885815" cy="6862763"/>
          </a:xfrm>
          <a:solidFill>
            <a:srgbClr val="A7A299"/>
          </a:solidFill>
        </p:spPr>
        <p:txBody>
          <a:bodyPr anchor="ctr" anchorCtr="0"/>
          <a:lstStyle>
            <a:lvl1pPr algn="ctr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4194" y="2243490"/>
            <a:ext cx="5214158" cy="347549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4"/>
                </a:solidFill>
              </a:defRPr>
            </a:lvl3pPr>
            <a:lvl4pPr>
              <a:defRPr>
                <a:solidFill>
                  <a:schemeClr val="accent4"/>
                </a:solidFill>
              </a:defRPr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5353393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5353393" cy="6124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88343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74DCAE80-AA40-4347-8A07-A0A2EC047EBA}"/>
              </a:ext>
            </a:extLst>
          </p:cNvPr>
          <p:cNvSpPr/>
          <p:nvPr userDrawn="1"/>
        </p:nvSpPr>
        <p:spPr>
          <a:xfrm>
            <a:off x="7177706" y="1067128"/>
            <a:ext cx="4104457" cy="218268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4194" y="2243490"/>
            <a:ext cx="5214158" cy="347549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4"/>
                </a:solidFill>
              </a:defRPr>
            </a:lvl3pPr>
            <a:lvl4pPr>
              <a:defRPr>
                <a:solidFill>
                  <a:schemeClr val="accent4"/>
                </a:solidFill>
              </a:defRPr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5353393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5353393" cy="6124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C7780BCC-1E57-4A2A-968A-CFEEB643EB1A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426684" y="1298697"/>
            <a:ext cx="3565781" cy="1715216"/>
          </a:xfrm>
        </p:spPr>
        <p:txBody>
          <a:bodyPr/>
          <a:lstStyle/>
          <a:p>
            <a:endParaRPr lang="sv-SE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0F28114-2750-4387-9DC3-495A57B67916}"/>
              </a:ext>
            </a:extLst>
          </p:cNvPr>
          <p:cNvSpPr/>
          <p:nvPr userDrawn="1"/>
        </p:nvSpPr>
        <p:spPr>
          <a:xfrm>
            <a:off x="7177706" y="3551542"/>
            <a:ext cx="4104457" cy="218268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0" name="Chart Placeholder 4">
            <a:extLst>
              <a:ext uri="{FF2B5EF4-FFF2-40B4-BE49-F238E27FC236}">
                <a16:creationId xmlns:a16="http://schemas.microsoft.com/office/drawing/2014/main" id="{D4D8A838-D02B-4469-AEA9-16DE3D31BF25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7426684" y="3783111"/>
            <a:ext cx="3565781" cy="1715216"/>
          </a:xfrm>
        </p:spPr>
        <p:txBody>
          <a:bodyPr/>
          <a:lstStyle/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576580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3EFBBE49-06AF-4882-9E4E-B9F858E30C27}"/>
              </a:ext>
            </a:extLst>
          </p:cNvPr>
          <p:cNvSpPr/>
          <p:nvPr userDrawn="1"/>
        </p:nvSpPr>
        <p:spPr>
          <a:xfrm>
            <a:off x="744194" y="1889290"/>
            <a:ext cx="4993353" cy="182730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309359" y="-1"/>
            <a:ext cx="5885815" cy="6862763"/>
          </a:xfrm>
          <a:solidFill>
            <a:srgbClr val="A7A299"/>
          </a:solidFill>
        </p:spPr>
        <p:txBody>
          <a:bodyPr anchor="ctr" anchorCtr="0"/>
          <a:lstStyle>
            <a:lvl1pPr algn="ctr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25669" y="2066511"/>
            <a:ext cx="4595854" cy="1453362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4"/>
                </a:solidFill>
              </a:defRPr>
            </a:lvl3pPr>
            <a:lvl4pPr>
              <a:defRPr>
                <a:solidFill>
                  <a:schemeClr val="accent4"/>
                </a:solidFill>
              </a:defRPr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5353393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5353393" cy="6124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55CC29D-06F7-4200-8CAA-E4EBD190122E}"/>
              </a:ext>
            </a:extLst>
          </p:cNvPr>
          <p:cNvSpPr/>
          <p:nvPr userDrawn="1"/>
        </p:nvSpPr>
        <p:spPr>
          <a:xfrm>
            <a:off x="744194" y="3954064"/>
            <a:ext cx="4993353" cy="182730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6F242F9-7C91-427C-8FC4-4879E79A4C12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5669" y="4131285"/>
            <a:ext cx="4595854" cy="1453362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4"/>
                </a:solidFill>
              </a:defRPr>
            </a:lvl3pPr>
            <a:lvl4pPr>
              <a:defRPr>
                <a:solidFill>
                  <a:schemeClr val="accent4"/>
                </a:solidFill>
              </a:defRPr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9277092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236824" y="5647483"/>
            <a:ext cx="5214158" cy="216150"/>
          </a:xfrm>
        </p:spPr>
        <p:txBody>
          <a:bodyPr>
            <a:noAutofit/>
          </a:bodyPr>
          <a:lstStyle>
            <a:lvl1pPr>
              <a:buFontTx/>
              <a:buNone/>
              <a:defRPr sz="14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236824" y="2287588"/>
            <a:ext cx="5214158" cy="3314300"/>
          </a:xfrm>
          <a:solidFill>
            <a:srgbClr val="A7A299"/>
          </a:solidFill>
        </p:spPr>
        <p:txBody>
          <a:bodyPr anchor="ctr" anchorCtr="0"/>
          <a:lstStyle>
            <a:lvl1pPr algn="ctr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4194" y="2243490"/>
            <a:ext cx="5214158" cy="347549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4"/>
                </a:solidFill>
              </a:defRPr>
            </a:lvl3pPr>
            <a:lvl4pPr>
              <a:defRPr>
                <a:solidFill>
                  <a:schemeClr val="accent4"/>
                </a:solidFill>
              </a:defRPr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0286838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8034889" y="5647475"/>
            <a:ext cx="3416093" cy="216150"/>
          </a:xfrm>
        </p:spPr>
        <p:txBody>
          <a:bodyPr>
            <a:noAutofit/>
          </a:bodyPr>
          <a:lstStyle>
            <a:lvl1pPr>
              <a:buFontTx/>
              <a:buNone/>
              <a:defRPr sz="14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2544662" y="5647483"/>
            <a:ext cx="5214158" cy="216150"/>
          </a:xfrm>
        </p:spPr>
        <p:txBody>
          <a:bodyPr>
            <a:noAutofit/>
          </a:bodyPr>
          <a:lstStyle>
            <a:lvl1pPr>
              <a:buFontTx/>
              <a:buNone/>
              <a:defRPr sz="14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6"/>
          </p:nvPr>
        </p:nvSpPr>
        <p:spPr>
          <a:xfrm>
            <a:off x="8034889" y="2287580"/>
            <a:ext cx="3416093" cy="3314300"/>
          </a:xfrm>
          <a:solidFill>
            <a:srgbClr val="A7A299"/>
          </a:solidFill>
        </p:spPr>
        <p:txBody>
          <a:bodyPr anchor="ctr" anchorCtr="0"/>
          <a:lstStyle>
            <a:lvl1pPr algn="ctr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2544662" y="2287588"/>
            <a:ext cx="5214158" cy="3314300"/>
          </a:xfrm>
          <a:solidFill>
            <a:srgbClr val="A7A299"/>
          </a:solidFill>
        </p:spPr>
        <p:txBody>
          <a:bodyPr anchor="ctr" anchorCtr="0"/>
          <a:lstStyle>
            <a:lvl1pPr algn="ctr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6686990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5175" cy="6862763"/>
          </a:xfrm>
          <a:solidFill>
            <a:srgbClr val="A7A299"/>
          </a:solidFill>
        </p:spPr>
        <p:txBody>
          <a:bodyPr anchor="ctr" anchorCtr="0"/>
          <a:lstStyle>
            <a:lvl1pPr algn="ctr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10282500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309359" y="-1"/>
            <a:ext cx="5885815" cy="6862763"/>
          </a:xfrm>
          <a:solidFill>
            <a:srgbClr val="A7A299"/>
          </a:solidFill>
        </p:spPr>
        <p:txBody>
          <a:bodyPr anchor="ctr" anchorCtr="0"/>
          <a:lstStyle>
            <a:lvl1pPr algn="ctr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97186" y="2243490"/>
            <a:ext cx="3388629" cy="899859"/>
          </a:xfrm>
        </p:spPr>
        <p:txBody>
          <a:bodyPr>
            <a:noAutofit/>
          </a:bodyPr>
          <a:lstStyle>
            <a:lvl1pPr>
              <a:defRPr sz="1400">
                <a:solidFill>
                  <a:schemeClr val="accent4"/>
                </a:solidFill>
              </a:defRPr>
            </a:lvl1pPr>
            <a:lvl2pPr>
              <a:defRPr sz="1400">
                <a:solidFill>
                  <a:schemeClr val="accent4"/>
                </a:solidFill>
              </a:defRPr>
            </a:lvl2pPr>
            <a:lvl3pPr>
              <a:defRPr sz="1400">
                <a:solidFill>
                  <a:schemeClr val="accent4"/>
                </a:solidFill>
              </a:defRPr>
            </a:lvl3pPr>
            <a:lvl4pPr>
              <a:defRPr sz="1400">
                <a:solidFill>
                  <a:schemeClr val="accent4"/>
                </a:solidFill>
              </a:defRPr>
            </a:lvl4pPr>
            <a:lvl5pPr>
              <a:defRPr sz="1400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5353393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5353393" cy="6124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F81F412-A1B6-43D2-B77D-A007C0E6E04E}"/>
              </a:ext>
            </a:extLst>
          </p:cNvPr>
          <p:cNvSpPr/>
          <p:nvPr userDrawn="1"/>
        </p:nvSpPr>
        <p:spPr>
          <a:xfrm>
            <a:off x="744194" y="2190289"/>
            <a:ext cx="1652642" cy="957830"/>
          </a:xfrm>
          <a:prstGeom prst="rect">
            <a:avLst/>
          </a:prstGeom>
          <a:solidFill>
            <a:schemeClr val="accent1"/>
          </a:solidFill>
        </p:spPr>
        <p:txBody>
          <a:bodyPr wrap="square" lIns="35985" tIns="35985" rIns="35985" bIns="35985" anchor="ctr">
            <a:noAutofit/>
          </a:bodyPr>
          <a:lstStyle/>
          <a:p>
            <a:pPr algn="ctr">
              <a:spcBef>
                <a:spcPts val="300"/>
              </a:spcBef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F40626E-3EF0-4503-8B58-5997CF964492}"/>
              </a:ext>
            </a:extLst>
          </p:cNvPr>
          <p:cNvSpPr/>
          <p:nvPr userDrawn="1"/>
        </p:nvSpPr>
        <p:spPr>
          <a:xfrm>
            <a:off x="733425" y="3338727"/>
            <a:ext cx="1652641" cy="957830"/>
          </a:xfrm>
          <a:prstGeom prst="rect">
            <a:avLst/>
          </a:prstGeom>
          <a:solidFill>
            <a:schemeClr val="accent2"/>
          </a:solidFill>
        </p:spPr>
        <p:txBody>
          <a:bodyPr wrap="square" lIns="35985" tIns="35985" rIns="35985" bIns="35985" anchor="ctr">
            <a:noAutofit/>
          </a:bodyPr>
          <a:lstStyle/>
          <a:p>
            <a:pPr algn="ctr">
              <a:spcBef>
                <a:spcPts val="300"/>
              </a:spcBef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3B94F88-ED7D-41C4-9259-D0677E500AA8}"/>
              </a:ext>
            </a:extLst>
          </p:cNvPr>
          <p:cNvSpPr/>
          <p:nvPr userDrawn="1"/>
        </p:nvSpPr>
        <p:spPr>
          <a:xfrm>
            <a:off x="733425" y="4507127"/>
            <a:ext cx="1652641" cy="957830"/>
          </a:xfrm>
          <a:prstGeom prst="rect">
            <a:avLst/>
          </a:prstGeom>
          <a:solidFill>
            <a:schemeClr val="accent4"/>
          </a:solidFill>
        </p:spPr>
        <p:txBody>
          <a:bodyPr wrap="square" lIns="35985" tIns="35985" rIns="35985" bIns="35985" anchor="ctr">
            <a:noAutofit/>
          </a:bodyPr>
          <a:lstStyle/>
          <a:p>
            <a:pPr algn="ctr">
              <a:spcBef>
                <a:spcPts val="300"/>
              </a:spcBef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5761F46-D4BB-45FA-8F3A-E9ACFF60AF3E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2497186" y="3354535"/>
            <a:ext cx="3388629" cy="899859"/>
          </a:xfrm>
        </p:spPr>
        <p:txBody>
          <a:bodyPr>
            <a:noAutofit/>
          </a:bodyPr>
          <a:lstStyle>
            <a:lvl1pPr>
              <a:defRPr sz="1400">
                <a:solidFill>
                  <a:schemeClr val="accent4"/>
                </a:solidFill>
              </a:defRPr>
            </a:lvl1pPr>
            <a:lvl2pPr>
              <a:defRPr sz="1400">
                <a:solidFill>
                  <a:schemeClr val="accent4"/>
                </a:solidFill>
              </a:defRPr>
            </a:lvl2pPr>
            <a:lvl3pPr>
              <a:defRPr sz="1400">
                <a:solidFill>
                  <a:schemeClr val="accent4"/>
                </a:solidFill>
              </a:defRPr>
            </a:lvl3pPr>
            <a:lvl4pPr>
              <a:defRPr sz="1400">
                <a:solidFill>
                  <a:schemeClr val="accent4"/>
                </a:solidFill>
              </a:defRPr>
            </a:lvl4pPr>
            <a:lvl5pPr>
              <a:defRPr sz="1400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C58F0FB7-8987-48CE-A916-BB60A4C574D5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2497186" y="4524574"/>
            <a:ext cx="3388629" cy="899859"/>
          </a:xfrm>
        </p:spPr>
        <p:txBody>
          <a:bodyPr>
            <a:noAutofit/>
          </a:bodyPr>
          <a:lstStyle>
            <a:lvl1pPr>
              <a:defRPr sz="1400">
                <a:solidFill>
                  <a:schemeClr val="accent4"/>
                </a:solidFill>
              </a:defRPr>
            </a:lvl1pPr>
            <a:lvl2pPr>
              <a:defRPr sz="1400">
                <a:solidFill>
                  <a:schemeClr val="accent4"/>
                </a:solidFill>
              </a:defRPr>
            </a:lvl2pPr>
            <a:lvl3pPr>
              <a:defRPr sz="1400">
                <a:solidFill>
                  <a:schemeClr val="accent4"/>
                </a:solidFill>
              </a:defRPr>
            </a:lvl3pPr>
            <a:lvl4pPr>
              <a:defRPr sz="1400">
                <a:solidFill>
                  <a:schemeClr val="accent4"/>
                </a:solidFill>
              </a:defRPr>
            </a:lvl4pPr>
            <a:lvl5pPr>
              <a:defRPr sz="1400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1084C720-D496-4426-8B6A-7E04CD87EA41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865238" y="2338188"/>
            <a:ext cx="1540492" cy="661145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255775" indent="0">
              <a:buNone/>
              <a:defRPr sz="1600" b="1">
                <a:solidFill>
                  <a:schemeClr val="bg1"/>
                </a:solidFill>
              </a:defRPr>
            </a:lvl2pPr>
            <a:lvl3pPr marL="427265" indent="0">
              <a:buNone/>
              <a:defRPr sz="1400" b="1">
                <a:solidFill>
                  <a:schemeClr val="bg1"/>
                </a:solidFill>
              </a:defRPr>
            </a:lvl3pPr>
            <a:lvl4pPr marL="642788" indent="0">
              <a:buNone/>
              <a:defRPr sz="1400" b="1">
                <a:solidFill>
                  <a:schemeClr val="bg1"/>
                </a:solidFill>
              </a:defRPr>
            </a:lvl4pPr>
            <a:lvl5pPr marL="852639" indent="0">
              <a:buNone/>
              <a:defRPr sz="1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7E140563-BB46-45EE-8132-30B17B3503A7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865238" y="3468897"/>
            <a:ext cx="1540492" cy="661145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255775" indent="0">
              <a:buNone/>
              <a:defRPr sz="1600" b="1">
                <a:solidFill>
                  <a:schemeClr val="bg1"/>
                </a:solidFill>
              </a:defRPr>
            </a:lvl2pPr>
            <a:lvl3pPr marL="427265" indent="0">
              <a:buNone/>
              <a:defRPr sz="1400" b="1">
                <a:solidFill>
                  <a:schemeClr val="bg1"/>
                </a:solidFill>
              </a:defRPr>
            </a:lvl3pPr>
            <a:lvl4pPr marL="642788" indent="0">
              <a:buNone/>
              <a:defRPr sz="1400" b="1">
                <a:solidFill>
                  <a:schemeClr val="bg1"/>
                </a:solidFill>
              </a:defRPr>
            </a:lvl4pPr>
            <a:lvl5pPr marL="852639" indent="0">
              <a:buNone/>
              <a:defRPr sz="1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C41BE7F3-1538-4104-A0BA-15957E04FD80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865238" y="4658601"/>
            <a:ext cx="1540492" cy="661145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255775" indent="0">
              <a:buNone/>
              <a:defRPr sz="1600" b="1">
                <a:solidFill>
                  <a:schemeClr val="bg1"/>
                </a:solidFill>
              </a:defRPr>
            </a:lvl2pPr>
            <a:lvl3pPr marL="427265" indent="0">
              <a:buNone/>
              <a:defRPr sz="1400" b="1">
                <a:solidFill>
                  <a:schemeClr val="bg1"/>
                </a:solidFill>
              </a:defRPr>
            </a:lvl3pPr>
            <a:lvl4pPr marL="642788" indent="0">
              <a:buNone/>
              <a:defRPr sz="1400" b="1">
                <a:solidFill>
                  <a:schemeClr val="bg1"/>
                </a:solidFill>
              </a:defRPr>
            </a:lvl4pPr>
            <a:lvl5pPr marL="852639" indent="0">
              <a:buNone/>
              <a:defRPr sz="1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6818306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309359" y="-1"/>
            <a:ext cx="5885815" cy="6862763"/>
          </a:xfrm>
          <a:solidFill>
            <a:srgbClr val="A7A299"/>
          </a:solidFill>
        </p:spPr>
        <p:txBody>
          <a:bodyPr anchor="ctr" anchorCtr="0"/>
          <a:lstStyle>
            <a:lvl1pPr algn="ctr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5353393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5353393" cy="6124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68A0809-966F-4F22-B729-CB624B0B0F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92934" y="1789069"/>
            <a:ext cx="3388629" cy="899859"/>
          </a:xfrm>
        </p:spPr>
        <p:txBody>
          <a:bodyPr>
            <a:noAutofit/>
          </a:bodyPr>
          <a:lstStyle>
            <a:lvl1pPr>
              <a:defRPr sz="1400">
                <a:solidFill>
                  <a:schemeClr val="accent4"/>
                </a:solidFill>
              </a:defRPr>
            </a:lvl1pPr>
            <a:lvl2pPr>
              <a:defRPr sz="1400">
                <a:solidFill>
                  <a:schemeClr val="accent4"/>
                </a:solidFill>
              </a:defRPr>
            </a:lvl2pPr>
            <a:lvl3pPr>
              <a:defRPr sz="1400">
                <a:solidFill>
                  <a:schemeClr val="accent4"/>
                </a:solidFill>
              </a:defRPr>
            </a:lvl3pPr>
            <a:lvl4pPr>
              <a:defRPr sz="1400">
                <a:solidFill>
                  <a:schemeClr val="accent4"/>
                </a:solidFill>
              </a:defRPr>
            </a:lvl4pPr>
            <a:lvl5pPr>
              <a:defRPr sz="1400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1402190-8DEF-4016-B7C3-CC76DA1FE7A3}"/>
              </a:ext>
            </a:extLst>
          </p:cNvPr>
          <p:cNvSpPr/>
          <p:nvPr userDrawn="1"/>
        </p:nvSpPr>
        <p:spPr>
          <a:xfrm>
            <a:off x="739942" y="1775197"/>
            <a:ext cx="1652642" cy="957830"/>
          </a:xfrm>
          <a:prstGeom prst="rect">
            <a:avLst/>
          </a:prstGeom>
          <a:solidFill>
            <a:schemeClr val="accent1"/>
          </a:solidFill>
        </p:spPr>
        <p:txBody>
          <a:bodyPr wrap="square" lIns="35985" tIns="35985" rIns="35985" bIns="35985" anchor="ctr">
            <a:noAutofit/>
          </a:bodyPr>
          <a:lstStyle/>
          <a:p>
            <a:pPr algn="ctr">
              <a:spcBef>
                <a:spcPts val="300"/>
              </a:spcBef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F8C06E3-4368-42D5-9AE5-8CE273C51BD1}"/>
              </a:ext>
            </a:extLst>
          </p:cNvPr>
          <p:cNvSpPr/>
          <p:nvPr userDrawn="1"/>
        </p:nvSpPr>
        <p:spPr>
          <a:xfrm>
            <a:off x="729173" y="2845074"/>
            <a:ext cx="1652641" cy="957830"/>
          </a:xfrm>
          <a:prstGeom prst="rect">
            <a:avLst/>
          </a:prstGeom>
          <a:solidFill>
            <a:schemeClr val="accent3"/>
          </a:solidFill>
        </p:spPr>
        <p:txBody>
          <a:bodyPr wrap="square" lIns="35985" tIns="35985" rIns="35985" bIns="35985" anchor="ctr">
            <a:noAutofit/>
          </a:bodyPr>
          <a:lstStyle/>
          <a:p>
            <a:pPr algn="ctr">
              <a:spcBef>
                <a:spcPts val="300"/>
              </a:spcBef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F18B6F7-372F-4E5D-8831-0AB1296D0923}"/>
              </a:ext>
            </a:extLst>
          </p:cNvPr>
          <p:cNvSpPr/>
          <p:nvPr userDrawn="1"/>
        </p:nvSpPr>
        <p:spPr>
          <a:xfrm>
            <a:off x="729173" y="3925194"/>
            <a:ext cx="1652641" cy="957830"/>
          </a:xfrm>
          <a:prstGeom prst="rect">
            <a:avLst/>
          </a:prstGeom>
          <a:solidFill>
            <a:schemeClr val="accent2"/>
          </a:solidFill>
        </p:spPr>
        <p:txBody>
          <a:bodyPr wrap="square" lIns="35985" tIns="35985" rIns="35985" bIns="35985" anchor="ctr">
            <a:noAutofit/>
          </a:bodyPr>
          <a:lstStyle/>
          <a:p>
            <a:pPr algn="ctr">
              <a:spcBef>
                <a:spcPts val="300"/>
              </a:spcBef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F7063360-37C2-4C9A-A940-3DA9DE19B77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2492934" y="2856860"/>
            <a:ext cx="3388629" cy="899859"/>
          </a:xfrm>
        </p:spPr>
        <p:txBody>
          <a:bodyPr>
            <a:noAutofit/>
          </a:bodyPr>
          <a:lstStyle>
            <a:lvl1pPr>
              <a:defRPr sz="1400">
                <a:solidFill>
                  <a:schemeClr val="accent4"/>
                </a:solidFill>
              </a:defRPr>
            </a:lvl1pPr>
            <a:lvl2pPr>
              <a:defRPr sz="1400">
                <a:solidFill>
                  <a:schemeClr val="accent4"/>
                </a:solidFill>
              </a:defRPr>
            </a:lvl2pPr>
            <a:lvl3pPr>
              <a:defRPr sz="1400">
                <a:solidFill>
                  <a:schemeClr val="accent4"/>
                </a:solidFill>
              </a:defRPr>
            </a:lvl3pPr>
            <a:lvl4pPr>
              <a:defRPr sz="1400">
                <a:solidFill>
                  <a:schemeClr val="accent4"/>
                </a:solidFill>
              </a:defRPr>
            </a:lvl4pPr>
            <a:lvl5pPr>
              <a:defRPr sz="1400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E3E7284A-01C6-4CDC-86A9-2ADAF8BDF99D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2492934" y="3934895"/>
            <a:ext cx="3388629" cy="899859"/>
          </a:xfrm>
        </p:spPr>
        <p:txBody>
          <a:bodyPr>
            <a:noAutofit/>
          </a:bodyPr>
          <a:lstStyle>
            <a:lvl1pPr>
              <a:defRPr sz="1400">
                <a:solidFill>
                  <a:schemeClr val="accent4"/>
                </a:solidFill>
              </a:defRPr>
            </a:lvl1pPr>
            <a:lvl2pPr>
              <a:defRPr sz="1400">
                <a:solidFill>
                  <a:schemeClr val="accent4"/>
                </a:solidFill>
              </a:defRPr>
            </a:lvl2pPr>
            <a:lvl3pPr>
              <a:defRPr sz="1400">
                <a:solidFill>
                  <a:schemeClr val="accent4"/>
                </a:solidFill>
              </a:defRPr>
            </a:lvl3pPr>
            <a:lvl4pPr>
              <a:defRPr sz="1400">
                <a:solidFill>
                  <a:schemeClr val="accent4"/>
                </a:solidFill>
              </a:defRPr>
            </a:lvl4pPr>
            <a:lvl5pPr>
              <a:defRPr sz="1400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3C45459B-85C1-4386-BDE8-A2BC1FAF3ADD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860986" y="1923096"/>
            <a:ext cx="1540492" cy="661145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255775" indent="0">
              <a:buNone/>
              <a:defRPr sz="1600" b="1">
                <a:solidFill>
                  <a:schemeClr val="bg1"/>
                </a:solidFill>
              </a:defRPr>
            </a:lvl2pPr>
            <a:lvl3pPr marL="427265" indent="0">
              <a:buNone/>
              <a:defRPr sz="1400" b="1">
                <a:solidFill>
                  <a:schemeClr val="bg1"/>
                </a:solidFill>
              </a:defRPr>
            </a:lvl3pPr>
            <a:lvl4pPr marL="642788" indent="0">
              <a:buNone/>
              <a:defRPr sz="1400" b="1">
                <a:solidFill>
                  <a:schemeClr val="bg1"/>
                </a:solidFill>
              </a:defRPr>
            </a:lvl4pPr>
            <a:lvl5pPr marL="852639" indent="0">
              <a:buNone/>
              <a:defRPr sz="1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6F80C74B-4437-4370-8721-4E1C921F9CC6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860986" y="2961390"/>
            <a:ext cx="1540492" cy="661145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255775" indent="0">
              <a:buNone/>
              <a:defRPr sz="1600" b="1">
                <a:solidFill>
                  <a:schemeClr val="bg1"/>
                </a:solidFill>
              </a:defRPr>
            </a:lvl2pPr>
            <a:lvl3pPr marL="427265" indent="0">
              <a:buNone/>
              <a:defRPr sz="1400" b="1">
                <a:solidFill>
                  <a:schemeClr val="bg1"/>
                </a:solidFill>
              </a:defRPr>
            </a:lvl3pPr>
            <a:lvl4pPr marL="642788" indent="0">
              <a:buNone/>
              <a:defRPr sz="1400" b="1">
                <a:solidFill>
                  <a:schemeClr val="bg1"/>
                </a:solidFill>
              </a:defRPr>
            </a:lvl4pPr>
            <a:lvl5pPr marL="852639" indent="0">
              <a:buNone/>
              <a:defRPr sz="1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D64A3273-4354-448E-AF48-B655B3239527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860986" y="4068922"/>
            <a:ext cx="1540492" cy="661145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255775" indent="0">
              <a:buNone/>
              <a:defRPr sz="1600" b="1">
                <a:solidFill>
                  <a:schemeClr val="bg1"/>
                </a:solidFill>
              </a:defRPr>
            </a:lvl2pPr>
            <a:lvl3pPr marL="427265" indent="0">
              <a:buNone/>
              <a:defRPr sz="1400" b="1">
                <a:solidFill>
                  <a:schemeClr val="bg1"/>
                </a:solidFill>
              </a:defRPr>
            </a:lvl3pPr>
            <a:lvl4pPr marL="642788" indent="0">
              <a:buNone/>
              <a:defRPr sz="1400" b="1">
                <a:solidFill>
                  <a:schemeClr val="bg1"/>
                </a:solidFill>
              </a:defRPr>
            </a:lvl4pPr>
            <a:lvl5pPr marL="852639" indent="0">
              <a:buNone/>
              <a:defRPr sz="1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090D484F-424A-443B-99A0-CE14721E3AB8}"/>
              </a:ext>
            </a:extLst>
          </p:cNvPr>
          <p:cNvSpPr/>
          <p:nvPr userDrawn="1"/>
        </p:nvSpPr>
        <p:spPr>
          <a:xfrm>
            <a:off x="729173" y="5005314"/>
            <a:ext cx="1652641" cy="957830"/>
          </a:xfrm>
          <a:prstGeom prst="rect">
            <a:avLst/>
          </a:prstGeom>
          <a:solidFill>
            <a:schemeClr val="accent4"/>
          </a:solidFill>
        </p:spPr>
        <p:txBody>
          <a:bodyPr wrap="square" lIns="35985" tIns="35985" rIns="35985" bIns="35985" anchor="ctr">
            <a:noAutofit/>
          </a:bodyPr>
          <a:lstStyle/>
          <a:p>
            <a:pPr algn="ctr">
              <a:spcBef>
                <a:spcPts val="300"/>
              </a:spcBef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7EC57874-9B46-4AD6-9752-94CA47924E5B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2492934" y="5022761"/>
            <a:ext cx="3388629" cy="899859"/>
          </a:xfrm>
        </p:spPr>
        <p:txBody>
          <a:bodyPr>
            <a:noAutofit/>
          </a:bodyPr>
          <a:lstStyle>
            <a:lvl1pPr>
              <a:defRPr sz="1400">
                <a:solidFill>
                  <a:schemeClr val="accent4"/>
                </a:solidFill>
              </a:defRPr>
            </a:lvl1pPr>
            <a:lvl2pPr>
              <a:defRPr sz="1400">
                <a:solidFill>
                  <a:schemeClr val="accent4"/>
                </a:solidFill>
              </a:defRPr>
            </a:lvl2pPr>
            <a:lvl3pPr>
              <a:defRPr sz="1400">
                <a:solidFill>
                  <a:schemeClr val="accent4"/>
                </a:solidFill>
              </a:defRPr>
            </a:lvl3pPr>
            <a:lvl4pPr>
              <a:defRPr sz="1400">
                <a:solidFill>
                  <a:schemeClr val="accent4"/>
                </a:solidFill>
              </a:defRPr>
            </a:lvl4pPr>
            <a:lvl5pPr>
              <a:defRPr sz="1400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88C44849-B9DD-44ED-B7E9-A0A07DAA007C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860986" y="5156788"/>
            <a:ext cx="1540492" cy="661145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255775" indent="0">
              <a:buNone/>
              <a:defRPr sz="1600" b="1">
                <a:solidFill>
                  <a:schemeClr val="bg1"/>
                </a:solidFill>
              </a:defRPr>
            </a:lvl2pPr>
            <a:lvl3pPr marL="427265" indent="0">
              <a:buNone/>
              <a:defRPr sz="1400" b="1">
                <a:solidFill>
                  <a:schemeClr val="bg1"/>
                </a:solidFill>
              </a:defRPr>
            </a:lvl3pPr>
            <a:lvl4pPr marL="642788" indent="0">
              <a:buNone/>
              <a:defRPr sz="1400" b="1">
                <a:solidFill>
                  <a:schemeClr val="bg1"/>
                </a:solidFill>
              </a:defRPr>
            </a:lvl4pPr>
            <a:lvl5pPr marL="852639" indent="0">
              <a:buNone/>
              <a:defRPr sz="1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4496650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211BD83-C7AC-483B-B986-D188B970B5C6}"/>
              </a:ext>
            </a:extLst>
          </p:cNvPr>
          <p:cNvSpPr/>
          <p:nvPr userDrawn="1"/>
        </p:nvSpPr>
        <p:spPr>
          <a:xfrm>
            <a:off x="744194" y="1905486"/>
            <a:ext cx="5096535" cy="38135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70025B8-F263-482A-A9C2-99F8495AAA12}"/>
              </a:ext>
            </a:extLst>
          </p:cNvPr>
          <p:cNvSpPr/>
          <p:nvPr userDrawn="1"/>
        </p:nvSpPr>
        <p:spPr>
          <a:xfrm>
            <a:off x="6114697" y="1905486"/>
            <a:ext cx="5096535" cy="38135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6320975" y="2104102"/>
            <a:ext cx="4618660" cy="342162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53729" y="2104102"/>
            <a:ext cx="4618660" cy="342162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70136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fld id="{F7DC6A67-F745-42FE-82D1-7A561047EC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3502869"/>
            <a:ext cx="10706788" cy="643389"/>
          </a:xfrm>
        </p:spPr>
        <p:txBody>
          <a:bodyPr anchor="t"/>
          <a:lstStyle>
            <a:lvl1pPr algn="ctr">
              <a:defRPr sz="1900" b="1" cap="none" baseline="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4194" y="1358241"/>
            <a:ext cx="10706788" cy="1925409"/>
          </a:xfrm>
        </p:spPr>
        <p:txBody>
          <a:bodyPr anchor="b">
            <a:noAutofit/>
          </a:bodyPr>
          <a:lstStyle>
            <a:lvl1pPr marL="0" indent="0" algn="ctr">
              <a:buNone/>
              <a:defRPr sz="4800" cap="all" baseline="0">
                <a:solidFill>
                  <a:schemeClr val="accent2"/>
                </a:solidFill>
                <a:latin typeface="Arial Black" pitchFamily="34" charset="0"/>
              </a:defRPr>
            </a:lvl1pPr>
            <a:lvl2pPr marL="544479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8895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3343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4pPr>
            <a:lvl5pPr marL="217791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5pPr>
            <a:lvl6pPr marL="2722397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6pPr>
            <a:lvl7pPr marL="3266877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7pPr>
            <a:lvl8pPr marL="3811356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8pPr>
            <a:lvl9pPr marL="4355836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211BD83-C7AC-483B-B986-D188B970B5C6}"/>
              </a:ext>
            </a:extLst>
          </p:cNvPr>
          <p:cNvSpPr/>
          <p:nvPr userDrawn="1"/>
        </p:nvSpPr>
        <p:spPr>
          <a:xfrm>
            <a:off x="744195" y="1905486"/>
            <a:ext cx="3336191" cy="38135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53729" y="2488132"/>
            <a:ext cx="2955734" cy="303759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9158556-7FAC-413B-8CF7-1958C9D38D79}"/>
              </a:ext>
            </a:extLst>
          </p:cNvPr>
          <p:cNvSpPr/>
          <p:nvPr userDrawn="1"/>
        </p:nvSpPr>
        <p:spPr>
          <a:xfrm>
            <a:off x="4339735" y="1905486"/>
            <a:ext cx="3336191" cy="38135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69E64DC6-685E-4E71-8492-7DA77406C3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549269" y="2488132"/>
            <a:ext cx="2955734" cy="303759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5E88338-54FF-4AE6-8F61-BCB024224E59}"/>
              </a:ext>
            </a:extLst>
          </p:cNvPr>
          <p:cNvSpPr/>
          <p:nvPr userDrawn="1"/>
        </p:nvSpPr>
        <p:spPr>
          <a:xfrm>
            <a:off x="7935275" y="1905486"/>
            <a:ext cx="3336191" cy="38135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E5259992-5126-4336-9E23-B0FF8EFDEA4D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144809" y="2488132"/>
            <a:ext cx="2955734" cy="303759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C1F006F5-FA7D-47D8-A7CD-3C177F2A7AE2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953729" y="2082837"/>
            <a:ext cx="2955734" cy="381229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943B6543-63A5-4B97-9749-20AD27D7F10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549269" y="2082837"/>
            <a:ext cx="2955734" cy="381229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D81098B6-CEB5-43F8-91AA-7B6E63473547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8144809" y="2082837"/>
            <a:ext cx="2955734" cy="381229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140405960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211BD83-C7AC-483B-B986-D188B970B5C6}"/>
              </a:ext>
            </a:extLst>
          </p:cNvPr>
          <p:cNvSpPr/>
          <p:nvPr userDrawn="1"/>
        </p:nvSpPr>
        <p:spPr>
          <a:xfrm>
            <a:off x="789914" y="1757582"/>
            <a:ext cx="5137368" cy="417646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30737" y="2369574"/>
            <a:ext cx="4649971" cy="334730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0EDF28F-BF9B-4A79-A084-E7CDCB8890BA}"/>
              </a:ext>
            </a:extLst>
          </p:cNvPr>
          <p:cNvGrpSpPr/>
          <p:nvPr userDrawn="1"/>
        </p:nvGrpSpPr>
        <p:grpSpPr>
          <a:xfrm>
            <a:off x="7537747" y="1342308"/>
            <a:ext cx="3496777" cy="4477442"/>
            <a:chOff x="7681763" y="1715845"/>
            <a:chExt cx="3248745" cy="4159850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C34FC37B-0B15-46DE-836C-950098027D0C}"/>
                </a:ext>
              </a:extLst>
            </p:cNvPr>
            <p:cNvSpPr/>
            <p:nvPr userDrawn="1"/>
          </p:nvSpPr>
          <p:spPr>
            <a:xfrm>
              <a:off x="7681763" y="1715845"/>
              <a:ext cx="1317991" cy="131799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2FAFEBB1-75E9-4502-9A4D-113BEC2ED884}"/>
                </a:ext>
              </a:extLst>
            </p:cNvPr>
            <p:cNvSpPr/>
            <p:nvPr userDrawn="1"/>
          </p:nvSpPr>
          <p:spPr>
            <a:xfrm>
              <a:off x="9612517" y="1715845"/>
              <a:ext cx="1317991" cy="131799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09180359-9C42-4E15-A222-6F0D1AC53F7E}"/>
                </a:ext>
              </a:extLst>
            </p:cNvPr>
            <p:cNvSpPr/>
            <p:nvPr userDrawn="1"/>
          </p:nvSpPr>
          <p:spPr>
            <a:xfrm>
              <a:off x="7681763" y="3136775"/>
              <a:ext cx="1317991" cy="131799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F9AF2143-55BF-4ABE-94F4-37635AC31BB7}"/>
                </a:ext>
              </a:extLst>
            </p:cNvPr>
            <p:cNvSpPr/>
            <p:nvPr userDrawn="1"/>
          </p:nvSpPr>
          <p:spPr>
            <a:xfrm>
              <a:off x="9612517" y="3136775"/>
              <a:ext cx="1317991" cy="131799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C4041A28-BC7E-4368-B3DE-DF2AE180A302}"/>
                </a:ext>
              </a:extLst>
            </p:cNvPr>
            <p:cNvSpPr/>
            <p:nvPr userDrawn="1"/>
          </p:nvSpPr>
          <p:spPr>
            <a:xfrm>
              <a:off x="7681763" y="4557704"/>
              <a:ext cx="1317991" cy="131799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76BB408A-1393-4157-BF52-CE9907DD5563}"/>
                </a:ext>
              </a:extLst>
            </p:cNvPr>
            <p:cNvSpPr/>
            <p:nvPr userDrawn="1"/>
          </p:nvSpPr>
          <p:spPr>
            <a:xfrm>
              <a:off x="9612517" y="4557704"/>
              <a:ext cx="1317991" cy="131799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8CA7442-DA0E-426F-BA19-AC0615B33C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76526" y="1763291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78625526-4CFD-4147-BDC8-29713DB3552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54687" y="1763291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DF09A028-B0BB-4E64-B97A-DB519331732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6526" y="3297309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22B4B2BC-8D8A-4800-945F-32A7E541F26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754687" y="3297309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34" name="Text Placeholder 10">
            <a:extLst>
              <a:ext uri="{FF2B5EF4-FFF2-40B4-BE49-F238E27FC236}">
                <a16:creationId xmlns:a16="http://schemas.microsoft.com/office/drawing/2014/main" id="{655652AB-6D0E-49E8-BD04-685165BBC7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676526" y="4815101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2BA6E47B-C09A-4F86-AF9D-ED45AD865CB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754687" y="4815101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36" name="Isosceles Triangle 35">
            <a:extLst>
              <a:ext uri="{FF2B5EF4-FFF2-40B4-BE49-F238E27FC236}">
                <a16:creationId xmlns:a16="http://schemas.microsoft.com/office/drawing/2014/main" id="{1B28C189-0EF4-40AB-8831-B0B55FC7656C}"/>
              </a:ext>
            </a:extLst>
          </p:cNvPr>
          <p:cNvSpPr/>
          <p:nvPr userDrawn="1"/>
        </p:nvSpPr>
        <p:spPr>
          <a:xfrm rot="5400000">
            <a:off x="9094403" y="1951606"/>
            <a:ext cx="399864" cy="189770"/>
          </a:xfrm>
          <a:prstGeom prst="triangl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7" name="Isosceles Triangle 36">
            <a:extLst>
              <a:ext uri="{FF2B5EF4-FFF2-40B4-BE49-F238E27FC236}">
                <a16:creationId xmlns:a16="http://schemas.microsoft.com/office/drawing/2014/main" id="{C2E0AEB8-7411-4143-A3D0-13AA19B7BFF5}"/>
              </a:ext>
            </a:extLst>
          </p:cNvPr>
          <p:cNvSpPr/>
          <p:nvPr userDrawn="1"/>
        </p:nvSpPr>
        <p:spPr>
          <a:xfrm rot="5400000">
            <a:off x="9094403" y="3486145"/>
            <a:ext cx="399864" cy="189770"/>
          </a:xfrm>
          <a:prstGeom prst="triangl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8" name="Isosceles Triangle 37">
            <a:extLst>
              <a:ext uri="{FF2B5EF4-FFF2-40B4-BE49-F238E27FC236}">
                <a16:creationId xmlns:a16="http://schemas.microsoft.com/office/drawing/2014/main" id="{76423A02-640F-40D1-885F-81676B11F2F9}"/>
              </a:ext>
            </a:extLst>
          </p:cNvPr>
          <p:cNvSpPr/>
          <p:nvPr userDrawn="1"/>
        </p:nvSpPr>
        <p:spPr>
          <a:xfrm rot="5400000">
            <a:off x="9094403" y="5020684"/>
            <a:ext cx="399864" cy="189770"/>
          </a:xfrm>
          <a:prstGeom prst="triangl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1" name="Content Placeholder 2">
            <a:extLst>
              <a:ext uri="{FF2B5EF4-FFF2-40B4-BE49-F238E27FC236}">
                <a16:creationId xmlns:a16="http://schemas.microsoft.com/office/drawing/2014/main" id="{FE3CB655-EFB2-4F6F-A4B9-919960F450E1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1030737" y="1936956"/>
            <a:ext cx="4649971" cy="383458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192237691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4193" y="1902727"/>
            <a:ext cx="6001465" cy="3898001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F9D2B662-BC92-4C95-9720-3C2092E7DAD9}"/>
              </a:ext>
            </a:extLst>
          </p:cNvPr>
          <p:cNvGrpSpPr/>
          <p:nvPr userDrawn="1"/>
        </p:nvGrpSpPr>
        <p:grpSpPr>
          <a:xfrm>
            <a:off x="7537747" y="1342308"/>
            <a:ext cx="3496777" cy="4477442"/>
            <a:chOff x="7681763" y="1715845"/>
            <a:chExt cx="3248745" cy="4159850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0485CAA3-919F-4345-A9B1-DCF7960DF23F}"/>
                </a:ext>
              </a:extLst>
            </p:cNvPr>
            <p:cNvSpPr/>
            <p:nvPr userDrawn="1"/>
          </p:nvSpPr>
          <p:spPr>
            <a:xfrm>
              <a:off x="7681763" y="1715845"/>
              <a:ext cx="1317991" cy="131799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0CE42980-7773-4002-B3F9-1D9A0D7D2BFA}"/>
                </a:ext>
              </a:extLst>
            </p:cNvPr>
            <p:cNvSpPr/>
            <p:nvPr userDrawn="1"/>
          </p:nvSpPr>
          <p:spPr>
            <a:xfrm>
              <a:off x="9612517" y="1715845"/>
              <a:ext cx="1317991" cy="131799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7BA9CE04-7F07-4BFA-8E94-B357FD53623F}"/>
                </a:ext>
              </a:extLst>
            </p:cNvPr>
            <p:cNvSpPr/>
            <p:nvPr userDrawn="1"/>
          </p:nvSpPr>
          <p:spPr>
            <a:xfrm>
              <a:off x="7681763" y="3136775"/>
              <a:ext cx="1317991" cy="131799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822539FB-029F-4637-A73F-5276CB04505F}"/>
                </a:ext>
              </a:extLst>
            </p:cNvPr>
            <p:cNvSpPr/>
            <p:nvPr userDrawn="1"/>
          </p:nvSpPr>
          <p:spPr>
            <a:xfrm>
              <a:off x="9612517" y="3136775"/>
              <a:ext cx="1317991" cy="131799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813677B7-1447-46EA-AE00-A86D01783857}"/>
                </a:ext>
              </a:extLst>
            </p:cNvPr>
            <p:cNvSpPr/>
            <p:nvPr userDrawn="1"/>
          </p:nvSpPr>
          <p:spPr>
            <a:xfrm>
              <a:off x="7681763" y="4557704"/>
              <a:ext cx="1317991" cy="131799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562D558D-5CF1-4CA9-A0EB-1AA09E2C1722}"/>
                </a:ext>
              </a:extLst>
            </p:cNvPr>
            <p:cNvSpPr/>
            <p:nvPr userDrawn="1"/>
          </p:nvSpPr>
          <p:spPr>
            <a:xfrm>
              <a:off x="9612517" y="4557704"/>
              <a:ext cx="1317991" cy="131799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870AC112-E2B3-4589-93AE-A4BEF25A394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76526" y="1763291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1" name="Text Placeholder 10">
            <a:extLst>
              <a:ext uri="{FF2B5EF4-FFF2-40B4-BE49-F238E27FC236}">
                <a16:creationId xmlns:a16="http://schemas.microsoft.com/office/drawing/2014/main" id="{02A3641B-E246-493B-9E15-DCC3928116A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54687" y="1763291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976631EF-2BF5-4AB8-9F96-CA4B2B7E42F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6526" y="3297309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3" name="Text Placeholder 10">
            <a:extLst>
              <a:ext uri="{FF2B5EF4-FFF2-40B4-BE49-F238E27FC236}">
                <a16:creationId xmlns:a16="http://schemas.microsoft.com/office/drawing/2014/main" id="{D6313CFB-D6EA-48BD-A2C2-89C41CAC713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754687" y="3297309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4" name="Text Placeholder 10">
            <a:extLst>
              <a:ext uri="{FF2B5EF4-FFF2-40B4-BE49-F238E27FC236}">
                <a16:creationId xmlns:a16="http://schemas.microsoft.com/office/drawing/2014/main" id="{AF6923EA-6CB0-41BD-9DA6-FA54B104C0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676526" y="4815101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5" name="Text Placeholder 10">
            <a:extLst>
              <a:ext uri="{FF2B5EF4-FFF2-40B4-BE49-F238E27FC236}">
                <a16:creationId xmlns:a16="http://schemas.microsoft.com/office/drawing/2014/main" id="{6A1343EF-8221-4A12-ACC1-FDE9E5947F8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754687" y="4815101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6" name="Isosceles Triangle 55">
            <a:extLst>
              <a:ext uri="{FF2B5EF4-FFF2-40B4-BE49-F238E27FC236}">
                <a16:creationId xmlns:a16="http://schemas.microsoft.com/office/drawing/2014/main" id="{732A75E6-3BB5-4C1C-B523-B1A24B055604}"/>
              </a:ext>
            </a:extLst>
          </p:cNvPr>
          <p:cNvSpPr/>
          <p:nvPr userDrawn="1"/>
        </p:nvSpPr>
        <p:spPr>
          <a:xfrm rot="5400000">
            <a:off x="9094403" y="1951606"/>
            <a:ext cx="399864" cy="189770"/>
          </a:xfrm>
          <a:prstGeom prst="triangl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7" name="Isosceles Triangle 56">
            <a:extLst>
              <a:ext uri="{FF2B5EF4-FFF2-40B4-BE49-F238E27FC236}">
                <a16:creationId xmlns:a16="http://schemas.microsoft.com/office/drawing/2014/main" id="{06D50067-A6F2-4FAA-84C8-D8FFC04DEAA6}"/>
              </a:ext>
            </a:extLst>
          </p:cNvPr>
          <p:cNvSpPr/>
          <p:nvPr userDrawn="1"/>
        </p:nvSpPr>
        <p:spPr>
          <a:xfrm rot="5400000">
            <a:off x="9094403" y="3486145"/>
            <a:ext cx="399864" cy="189770"/>
          </a:xfrm>
          <a:prstGeom prst="triangl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8" name="Isosceles Triangle 57">
            <a:extLst>
              <a:ext uri="{FF2B5EF4-FFF2-40B4-BE49-F238E27FC236}">
                <a16:creationId xmlns:a16="http://schemas.microsoft.com/office/drawing/2014/main" id="{9E58F2B9-0204-42BB-89DE-CC34DC5C9AF7}"/>
              </a:ext>
            </a:extLst>
          </p:cNvPr>
          <p:cNvSpPr/>
          <p:nvPr userDrawn="1"/>
        </p:nvSpPr>
        <p:spPr>
          <a:xfrm rot="5400000">
            <a:off x="9094403" y="5020684"/>
            <a:ext cx="399864" cy="189770"/>
          </a:xfrm>
          <a:prstGeom prst="triangl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3743790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F9D3B0EE-8E2A-43B1-8843-321CF8F69C4E}"/>
              </a:ext>
            </a:extLst>
          </p:cNvPr>
          <p:cNvSpPr/>
          <p:nvPr userDrawn="1"/>
        </p:nvSpPr>
        <p:spPr>
          <a:xfrm>
            <a:off x="645404" y="3842657"/>
            <a:ext cx="1857577" cy="185757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09F10D9C-73EA-460B-9BE6-95EFD4376A0C}"/>
              </a:ext>
            </a:extLst>
          </p:cNvPr>
          <p:cNvSpPr/>
          <p:nvPr userDrawn="1"/>
        </p:nvSpPr>
        <p:spPr>
          <a:xfrm>
            <a:off x="2930812" y="1595933"/>
            <a:ext cx="2177558" cy="217755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0372A81-9981-4C06-976A-F69EEC85C3E8}"/>
              </a:ext>
            </a:extLst>
          </p:cNvPr>
          <p:cNvSpPr/>
          <p:nvPr userDrawn="1"/>
        </p:nvSpPr>
        <p:spPr>
          <a:xfrm>
            <a:off x="685801" y="1785031"/>
            <a:ext cx="1843776" cy="184377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3482E886-7294-4CF3-BD74-8AAB0F928D94}"/>
              </a:ext>
            </a:extLst>
          </p:cNvPr>
          <p:cNvSpPr/>
          <p:nvPr userDrawn="1"/>
        </p:nvSpPr>
        <p:spPr>
          <a:xfrm>
            <a:off x="2790229" y="4110020"/>
            <a:ext cx="2002145" cy="200214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DC2E8A2F-BF39-45D2-864D-B5F0F7CFC185}"/>
              </a:ext>
            </a:extLst>
          </p:cNvPr>
          <p:cNvSpPr/>
          <p:nvPr userDrawn="1"/>
        </p:nvSpPr>
        <p:spPr>
          <a:xfrm>
            <a:off x="5457196" y="1484243"/>
            <a:ext cx="1770811" cy="177081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58FD6EA7-AC29-4ECA-BF03-E245357AD72A}"/>
              </a:ext>
            </a:extLst>
          </p:cNvPr>
          <p:cNvSpPr/>
          <p:nvPr userDrawn="1"/>
        </p:nvSpPr>
        <p:spPr>
          <a:xfrm>
            <a:off x="7385732" y="1974180"/>
            <a:ext cx="2222094" cy="222209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4ED2CC29-5FBE-4817-B91A-C1C9AD3C714E}"/>
              </a:ext>
            </a:extLst>
          </p:cNvPr>
          <p:cNvSpPr/>
          <p:nvPr userDrawn="1"/>
        </p:nvSpPr>
        <p:spPr>
          <a:xfrm>
            <a:off x="7228007" y="4421484"/>
            <a:ext cx="1690681" cy="169068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C1062A1A-B0DC-40DA-BFB2-3BC0B28A6C70}"/>
              </a:ext>
            </a:extLst>
          </p:cNvPr>
          <p:cNvSpPr/>
          <p:nvPr userDrawn="1"/>
        </p:nvSpPr>
        <p:spPr>
          <a:xfrm>
            <a:off x="4990129" y="3439712"/>
            <a:ext cx="2031366" cy="203136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8D55521E-0F7B-4D11-AD78-9FF8EFF7D524}"/>
              </a:ext>
            </a:extLst>
          </p:cNvPr>
          <p:cNvSpPr/>
          <p:nvPr userDrawn="1"/>
        </p:nvSpPr>
        <p:spPr>
          <a:xfrm>
            <a:off x="9373558" y="3606414"/>
            <a:ext cx="2074103" cy="207410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F4EFF120-A7CB-4072-B9B4-A343C2508EE0}"/>
              </a:ext>
            </a:extLst>
          </p:cNvPr>
          <p:cNvSpPr/>
          <p:nvPr userDrawn="1"/>
        </p:nvSpPr>
        <p:spPr>
          <a:xfrm>
            <a:off x="9851938" y="1585519"/>
            <a:ext cx="1690681" cy="169068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6" name="Text Placeholder 10">
            <a:extLst>
              <a:ext uri="{FF2B5EF4-FFF2-40B4-BE49-F238E27FC236}">
                <a16:creationId xmlns:a16="http://schemas.microsoft.com/office/drawing/2014/main" id="{A52255D5-8140-429B-ADEF-9999D45A39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26250" y="3223562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7" name="Text Placeholder 10">
            <a:extLst>
              <a:ext uri="{FF2B5EF4-FFF2-40B4-BE49-F238E27FC236}">
                <a16:creationId xmlns:a16="http://schemas.microsoft.com/office/drawing/2014/main" id="{9DACFCED-BEEF-443A-A881-D9363A6B9B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33381" y="2673493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8" name="Text Placeholder 10">
            <a:extLst>
              <a:ext uri="{FF2B5EF4-FFF2-40B4-BE49-F238E27FC236}">
                <a16:creationId xmlns:a16="http://schemas.microsoft.com/office/drawing/2014/main" id="{5C122CF5-DACA-4A38-AAE4-D6319E314A1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855411" y="4706675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87CE9040-DB19-47B0-95D6-DEBA73BFB3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762542" y="4156606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099E3563-2808-4F00-917D-80269B10B54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86981" y="5208480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61" name="Text Placeholder 10">
            <a:extLst>
              <a:ext uri="{FF2B5EF4-FFF2-40B4-BE49-F238E27FC236}">
                <a16:creationId xmlns:a16="http://schemas.microsoft.com/office/drawing/2014/main" id="{497972F7-E6E7-48F6-979B-BB607FF1A7A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094112" y="4658411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62" name="Text Placeholder 10">
            <a:extLst>
              <a:ext uri="{FF2B5EF4-FFF2-40B4-BE49-F238E27FC236}">
                <a16:creationId xmlns:a16="http://schemas.microsoft.com/office/drawing/2014/main" id="{F710A930-DDFF-47AD-A9FF-6F1F993C0D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6073" y="4517105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63" name="Text Placeholder 10">
            <a:extLst>
              <a:ext uri="{FF2B5EF4-FFF2-40B4-BE49-F238E27FC236}">
                <a16:creationId xmlns:a16="http://schemas.microsoft.com/office/drawing/2014/main" id="{3C1A8471-813D-41B1-AD59-1420B8AF912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13204" y="3967036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64" name="Text Placeholder 10">
            <a:extLst>
              <a:ext uri="{FF2B5EF4-FFF2-40B4-BE49-F238E27FC236}">
                <a16:creationId xmlns:a16="http://schemas.microsoft.com/office/drawing/2014/main" id="{48B76107-7A34-4670-9D4F-0BFB923F63E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43459" y="2755212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65" name="Text Placeholder 10">
            <a:extLst>
              <a:ext uri="{FF2B5EF4-FFF2-40B4-BE49-F238E27FC236}">
                <a16:creationId xmlns:a16="http://schemas.microsoft.com/office/drawing/2014/main" id="{F5476A21-DC81-4DC8-AF47-B535FEDE8CC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50590" y="2205143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66" name="Text Placeholder 10">
            <a:extLst>
              <a:ext uri="{FF2B5EF4-FFF2-40B4-BE49-F238E27FC236}">
                <a16:creationId xmlns:a16="http://schemas.microsoft.com/office/drawing/2014/main" id="{F2F14FC6-A77A-4A69-9E8B-297AD8DB96A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92800" y="4910460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67" name="Text Placeholder 10">
            <a:extLst>
              <a:ext uri="{FF2B5EF4-FFF2-40B4-BE49-F238E27FC236}">
                <a16:creationId xmlns:a16="http://schemas.microsoft.com/office/drawing/2014/main" id="{7785BD6F-B52D-40B8-B8E2-6163A35F6D9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1745" y="4392773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2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68" name="Text Placeholder 10">
            <a:extLst>
              <a:ext uri="{FF2B5EF4-FFF2-40B4-BE49-F238E27FC236}">
                <a16:creationId xmlns:a16="http://schemas.microsoft.com/office/drawing/2014/main" id="{B2FFD832-76B9-4508-8D52-DDCB3CDE542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33095" y="2843900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69" name="Text Placeholder 10">
            <a:extLst>
              <a:ext uri="{FF2B5EF4-FFF2-40B4-BE49-F238E27FC236}">
                <a16:creationId xmlns:a16="http://schemas.microsoft.com/office/drawing/2014/main" id="{B3A14EA7-B870-4FF2-9AF2-82E869289BA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2040" y="2326213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2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70" name="Text Placeholder 10">
            <a:extLst>
              <a:ext uri="{FF2B5EF4-FFF2-40B4-BE49-F238E27FC236}">
                <a16:creationId xmlns:a16="http://schemas.microsoft.com/office/drawing/2014/main" id="{992AC45F-6701-4A68-A4B6-AA6420FE515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751279" y="2479906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71" name="Text Placeholder 10">
            <a:extLst>
              <a:ext uri="{FF2B5EF4-FFF2-40B4-BE49-F238E27FC236}">
                <a16:creationId xmlns:a16="http://schemas.microsoft.com/office/drawing/2014/main" id="{59E56022-5B2E-4114-810F-AC3D95667E1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50224" y="1962219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2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72" name="Text Placeholder 10">
            <a:extLst>
              <a:ext uri="{FF2B5EF4-FFF2-40B4-BE49-F238E27FC236}">
                <a16:creationId xmlns:a16="http://schemas.microsoft.com/office/drawing/2014/main" id="{A095A141-3B33-4BCA-800E-2E6CEA07EAE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497085" y="5362702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73" name="Text Placeholder 10">
            <a:extLst>
              <a:ext uri="{FF2B5EF4-FFF2-40B4-BE49-F238E27FC236}">
                <a16:creationId xmlns:a16="http://schemas.microsoft.com/office/drawing/2014/main" id="{AC491725-5816-4847-83C8-0246DB6674F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396030" y="4845015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2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74" name="Text Placeholder 10">
            <a:extLst>
              <a:ext uri="{FF2B5EF4-FFF2-40B4-BE49-F238E27FC236}">
                <a16:creationId xmlns:a16="http://schemas.microsoft.com/office/drawing/2014/main" id="{EB0D8EF1-83E2-4204-8607-03ACCAD4184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114779" y="2538820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75" name="Text Placeholder 10">
            <a:extLst>
              <a:ext uri="{FF2B5EF4-FFF2-40B4-BE49-F238E27FC236}">
                <a16:creationId xmlns:a16="http://schemas.microsoft.com/office/drawing/2014/main" id="{B41B9E6E-841D-4501-A1EB-F244BF407E9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013724" y="2021133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2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6067314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ey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F9D3B0EE-8E2A-43B1-8843-321CF8F69C4E}"/>
              </a:ext>
            </a:extLst>
          </p:cNvPr>
          <p:cNvSpPr/>
          <p:nvPr userDrawn="1"/>
        </p:nvSpPr>
        <p:spPr>
          <a:xfrm>
            <a:off x="994725" y="3904302"/>
            <a:ext cx="1857577" cy="185757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09F10D9C-73EA-460B-9BE6-95EFD4376A0C}"/>
              </a:ext>
            </a:extLst>
          </p:cNvPr>
          <p:cNvSpPr/>
          <p:nvPr userDrawn="1"/>
        </p:nvSpPr>
        <p:spPr>
          <a:xfrm>
            <a:off x="2961635" y="1657578"/>
            <a:ext cx="2177558" cy="217755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C0372A81-9981-4C06-976A-F69EEC85C3E8}"/>
              </a:ext>
            </a:extLst>
          </p:cNvPr>
          <p:cNvSpPr/>
          <p:nvPr userDrawn="1"/>
        </p:nvSpPr>
        <p:spPr>
          <a:xfrm>
            <a:off x="685801" y="1846676"/>
            <a:ext cx="1843776" cy="184377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3482E886-7294-4CF3-BD74-8AAB0F928D94}"/>
              </a:ext>
            </a:extLst>
          </p:cNvPr>
          <p:cNvSpPr/>
          <p:nvPr userDrawn="1"/>
        </p:nvSpPr>
        <p:spPr>
          <a:xfrm>
            <a:off x="3345416" y="4069090"/>
            <a:ext cx="2002145" cy="200214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DC2E8A2F-BF39-45D2-864D-B5F0F7CFC185}"/>
              </a:ext>
            </a:extLst>
          </p:cNvPr>
          <p:cNvSpPr/>
          <p:nvPr userDrawn="1"/>
        </p:nvSpPr>
        <p:spPr>
          <a:xfrm>
            <a:off x="5457196" y="1545888"/>
            <a:ext cx="1770811" cy="177081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58FD6EA7-AC29-4ECA-BF03-E245357AD72A}"/>
              </a:ext>
            </a:extLst>
          </p:cNvPr>
          <p:cNvSpPr/>
          <p:nvPr userDrawn="1"/>
        </p:nvSpPr>
        <p:spPr>
          <a:xfrm>
            <a:off x="7540849" y="1899088"/>
            <a:ext cx="2014767" cy="201476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C1062A1A-B0DC-40DA-BFB2-3BC0B28A6C70}"/>
              </a:ext>
            </a:extLst>
          </p:cNvPr>
          <p:cNvSpPr/>
          <p:nvPr userDrawn="1"/>
        </p:nvSpPr>
        <p:spPr>
          <a:xfrm>
            <a:off x="5834366" y="3734651"/>
            <a:ext cx="2251396" cy="225139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8D55521E-0F7B-4D11-AD78-9FF8EFF7D524}"/>
              </a:ext>
            </a:extLst>
          </p:cNvPr>
          <p:cNvSpPr/>
          <p:nvPr userDrawn="1"/>
        </p:nvSpPr>
        <p:spPr>
          <a:xfrm>
            <a:off x="8869261" y="3758430"/>
            <a:ext cx="2165184" cy="216518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F4EFF120-A7CB-4072-B9B4-A343C2508EE0}"/>
              </a:ext>
            </a:extLst>
          </p:cNvPr>
          <p:cNvSpPr/>
          <p:nvPr userDrawn="1"/>
        </p:nvSpPr>
        <p:spPr>
          <a:xfrm>
            <a:off x="10058027" y="1937820"/>
            <a:ext cx="1690681" cy="169068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6" name="Text Placeholder 10">
            <a:extLst>
              <a:ext uri="{FF2B5EF4-FFF2-40B4-BE49-F238E27FC236}">
                <a16:creationId xmlns:a16="http://schemas.microsoft.com/office/drawing/2014/main" id="{A52255D5-8140-429B-ADEF-9999D45A39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39202" y="3021206"/>
            <a:ext cx="1034594" cy="391965"/>
          </a:xfrm>
        </p:spPr>
        <p:txBody>
          <a:bodyPr>
            <a:no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7" name="Text Placeholder 10">
            <a:extLst>
              <a:ext uri="{FF2B5EF4-FFF2-40B4-BE49-F238E27FC236}">
                <a16:creationId xmlns:a16="http://schemas.microsoft.com/office/drawing/2014/main" id="{9DACFCED-BEEF-443A-A881-D9363A6B9B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74413" y="2450589"/>
            <a:ext cx="1432318" cy="451283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8" name="Text Placeholder 10">
            <a:extLst>
              <a:ext uri="{FF2B5EF4-FFF2-40B4-BE49-F238E27FC236}">
                <a16:creationId xmlns:a16="http://schemas.microsoft.com/office/drawing/2014/main" id="{5C122CF5-DACA-4A38-AAE4-D6319E314A1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51114" y="4930788"/>
            <a:ext cx="1191164" cy="451283"/>
          </a:xfrm>
        </p:spPr>
        <p:txBody>
          <a:bodyPr>
            <a:no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87CE9040-DB19-47B0-95D6-DEBA73BFB3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258245" y="4380719"/>
            <a:ext cx="1396873" cy="451283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099E3563-2808-4F00-917D-80269B10B54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42168" y="5167550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61" name="Text Placeholder 10">
            <a:extLst>
              <a:ext uri="{FF2B5EF4-FFF2-40B4-BE49-F238E27FC236}">
                <a16:creationId xmlns:a16="http://schemas.microsoft.com/office/drawing/2014/main" id="{497972F7-E6E7-48F6-979B-BB607FF1A7A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49299" y="4617481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62" name="Text Placeholder 10">
            <a:extLst>
              <a:ext uri="{FF2B5EF4-FFF2-40B4-BE49-F238E27FC236}">
                <a16:creationId xmlns:a16="http://schemas.microsoft.com/office/drawing/2014/main" id="{F710A930-DDFF-47AD-A9FF-6F1F993C0D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11954" y="4964701"/>
            <a:ext cx="1264653" cy="479125"/>
          </a:xfrm>
        </p:spPr>
        <p:txBody>
          <a:bodyPr>
            <a:no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63" name="Text Placeholder 10">
            <a:extLst>
              <a:ext uri="{FF2B5EF4-FFF2-40B4-BE49-F238E27FC236}">
                <a16:creationId xmlns:a16="http://schemas.microsoft.com/office/drawing/2014/main" id="{3C1A8471-813D-41B1-AD59-1420B8AF912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19086" y="4414632"/>
            <a:ext cx="1483052" cy="479125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64" name="Text Placeholder 10">
            <a:extLst>
              <a:ext uri="{FF2B5EF4-FFF2-40B4-BE49-F238E27FC236}">
                <a16:creationId xmlns:a16="http://schemas.microsoft.com/office/drawing/2014/main" id="{48B76107-7A34-4670-9D4F-0BFB923F63E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74282" y="2816857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65" name="Text Placeholder 10">
            <a:extLst>
              <a:ext uri="{FF2B5EF4-FFF2-40B4-BE49-F238E27FC236}">
                <a16:creationId xmlns:a16="http://schemas.microsoft.com/office/drawing/2014/main" id="{F5476A21-DC81-4DC8-AF47-B535FEDE8CC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81413" y="2266788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66" name="Text Placeholder 10">
            <a:extLst>
              <a:ext uri="{FF2B5EF4-FFF2-40B4-BE49-F238E27FC236}">
                <a16:creationId xmlns:a16="http://schemas.microsoft.com/office/drawing/2014/main" id="{F2F14FC6-A77A-4A69-9E8B-297AD8DB96A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42121" y="4972105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67" name="Text Placeholder 10">
            <a:extLst>
              <a:ext uri="{FF2B5EF4-FFF2-40B4-BE49-F238E27FC236}">
                <a16:creationId xmlns:a16="http://schemas.microsoft.com/office/drawing/2014/main" id="{7785BD6F-B52D-40B8-B8E2-6163A35F6D9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241066" y="4454418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2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68" name="Text Placeholder 10">
            <a:extLst>
              <a:ext uri="{FF2B5EF4-FFF2-40B4-BE49-F238E27FC236}">
                <a16:creationId xmlns:a16="http://schemas.microsoft.com/office/drawing/2014/main" id="{B2FFD832-76B9-4508-8D52-DDCB3CDE542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33095" y="2905545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69" name="Text Placeholder 10">
            <a:extLst>
              <a:ext uri="{FF2B5EF4-FFF2-40B4-BE49-F238E27FC236}">
                <a16:creationId xmlns:a16="http://schemas.microsoft.com/office/drawing/2014/main" id="{B3A14EA7-B870-4FF2-9AF2-82E869289BA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2040" y="2387858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2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70" name="Text Placeholder 10">
            <a:extLst>
              <a:ext uri="{FF2B5EF4-FFF2-40B4-BE49-F238E27FC236}">
                <a16:creationId xmlns:a16="http://schemas.microsoft.com/office/drawing/2014/main" id="{992AC45F-6701-4A68-A4B6-AA6420FE515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751279" y="2541551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71" name="Text Placeholder 10">
            <a:extLst>
              <a:ext uri="{FF2B5EF4-FFF2-40B4-BE49-F238E27FC236}">
                <a16:creationId xmlns:a16="http://schemas.microsoft.com/office/drawing/2014/main" id="{59E56022-5B2E-4114-810F-AC3D95667E1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50224" y="2023864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2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74" name="Text Placeholder 10">
            <a:extLst>
              <a:ext uri="{FF2B5EF4-FFF2-40B4-BE49-F238E27FC236}">
                <a16:creationId xmlns:a16="http://schemas.microsoft.com/office/drawing/2014/main" id="{EB0D8EF1-83E2-4204-8607-03ACCAD4184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320868" y="2891121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75" name="Text Placeholder 10">
            <a:extLst>
              <a:ext uri="{FF2B5EF4-FFF2-40B4-BE49-F238E27FC236}">
                <a16:creationId xmlns:a16="http://schemas.microsoft.com/office/drawing/2014/main" id="{B41B9E6E-841D-4501-A1EB-F244BF407E9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219813" y="2373434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2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302055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58FD6EA7-AC29-4ECA-BF03-E245357AD72A}"/>
              </a:ext>
            </a:extLst>
          </p:cNvPr>
          <p:cNvSpPr/>
          <p:nvPr userDrawn="1"/>
        </p:nvSpPr>
        <p:spPr>
          <a:xfrm>
            <a:off x="7350036" y="1801160"/>
            <a:ext cx="2222094" cy="222209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C1062A1A-B0DC-40DA-BFB2-3BC0B28A6C70}"/>
              </a:ext>
            </a:extLst>
          </p:cNvPr>
          <p:cNvSpPr/>
          <p:nvPr userDrawn="1"/>
        </p:nvSpPr>
        <p:spPr>
          <a:xfrm>
            <a:off x="7046879" y="4210562"/>
            <a:ext cx="2031366" cy="203136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8D55521E-0F7B-4D11-AD78-9FF8EFF7D524}"/>
              </a:ext>
            </a:extLst>
          </p:cNvPr>
          <p:cNvSpPr/>
          <p:nvPr userDrawn="1"/>
        </p:nvSpPr>
        <p:spPr>
          <a:xfrm>
            <a:off x="9333801" y="3606414"/>
            <a:ext cx="2074103" cy="207410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F4EFF120-A7CB-4072-B9B4-A343C2508EE0}"/>
              </a:ext>
            </a:extLst>
          </p:cNvPr>
          <p:cNvSpPr/>
          <p:nvPr userDrawn="1"/>
        </p:nvSpPr>
        <p:spPr>
          <a:xfrm>
            <a:off x="9812181" y="1585519"/>
            <a:ext cx="1690681" cy="169068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6" name="Text Placeholder 10">
            <a:extLst>
              <a:ext uri="{FF2B5EF4-FFF2-40B4-BE49-F238E27FC236}">
                <a16:creationId xmlns:a16="http://schemas.microsoft.com/office/drawing/2014/main" id="{A52255D5-8140-429B-ADEF-9999D45A39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90554" y="3050542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7" name="Text Placeholder 10">
            <a:extLst>
              <a:ext uri="{FF2B5EF4-FFF2-40B4-BE49-F238E27FC236}">
                <a16:creationId xmlns:a16="http://schemas.microsoft.com/office/drawing/2014/main" id="{9DACFCED-BEEF-443A-A881-D9363A6B9B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797685" y="2500473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8" name="Text Placeholder 10">
            <a:extLst>
              <a:ext uri="{FF2B5EF4-FFF2-40B4-BE49-F238E27FC236}">
                <a16:creationId xmlns:a16="http://schemas.microsoft.com/office/drawing/2014/main" id="{5C122CF5-DACA-4A38-AAE4-D6319E314A1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815654" y="4706675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87CE9040-DB19-47B0-95D6-DEBA73BFB3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722785" y="4156606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62" name="Text Placeholder 10">
            <a:extLst>
              <a:ext uri="{FF2B5EF4-FFF2-40B4-BE49-F238E27FC236}">
                <a16:creationId xmlns:a16="http://schemas.microsoft.com/office/drawing/2014/main" id="{F710A930-DDFF-47AD-A9FF-6F1F993C0D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62823" y="5287955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63" name="Text Placeholder 10">
            <a:extLst>
              <a:ext uri="{FF2B5EF4-FFF2-40B4-BE49-F238E27FC236}">
                <a16:creationId xmlns:a16="http://schemas.microsoft.com/office/drawing/2014/main" id="{3C1A8471-813D-41B1-AD59-1420B8AF912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369954" y="4737886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74" name="Text Placeholder 10">
            <a:extLst>
              <a:ext uri="{FF2B5EF4-FFF2-40B4-BE49-F238E27FC236}">
                <a16:creationId xmlns:a16="http://schemas.microsoft.com/office/drawing/2014/main" id="{EB0D8EF1-83E2-4204-8607-03ACCAD4184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075022" y="2538820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75" name="Text Placeholder 10">
            <a:extLst>
              <a:ext uri="{FF2B5EF4-FFF2-40B4-BE49-F238E27FC236}">
                <a16:creationId xmlns:a16="http://schemas.microsoft.com/office/drawing/2014/main" id="{B41B9E6E-841D-4501-A1EB-F244BF407E9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973967" y="2021133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2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17D07F44-D26D-4CDA-B364-B2A791FC05BE}"/>
              </a:ext>
            </a:extLst>
          </p:cNvPr>
          <p:cNvSpPr/>
          <p:nvPr userDrawn="1"/>
        </p:nvSpPr>
        <p:spPr>
          <a:xfrm>
            <a:off x="744194" y="1937982"/>
            <a:ext cx="5801924" cy="408568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744B77EF-4B82-4794-AD3C-E79115911E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5017" y="2536339"/>
            <a:ext cx="5251479" cy="3258563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E1DEC835-BE40-455E-B1B9-EAD419FE90E5}"/>
              </a:ext>
            </a:extLst>
          </p:cNvPr>
          <p:cNvSpPr>
            <a:spLocks noGrp="1"/>
          </p:cNvSpPr>
          <p:nvPr>
            <p:ph idx="34" hasCustomPrompt="1"/>
          </p:nvPr>
        </p:nvSpPr>
        <p:spPr>
          <a:xfrm>
            <a:off x="985017" y="2113160"/>
            <a:ext cx="5251479" cy="388823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31163232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17D07F44-D26D-4CDA-B364-B2A791FC05BE}"/>
              </a:ext>
            </a:extLst>
          </p:cNvPr>
          <p:cNvSpPr/>
          <p:nvPr userDrawn="1"/>
        </p:nvSpPr>
        <p:spPr>
          <a:xfrm>
            <a:off x="744194" y="1937982"/>
            <a:ext cx="5801924" cy="408568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744B77EF-4B82-4794-AD3C-E79115911E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5017" y="2536339"/>
            <a:ext cx="5251479" cy="3258563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E1DEC835-BE40-455E-B1B9-EAD419FE90E5}"/>
              </a:ext>
            </a:extLst>
          </p:cNvPr>
          <p:cNvSpPr>
            <a:spLocks noGrp="1"/>
          </p:cNvSpPr>
          <p:nvPr>
            <p:ph idx="34" hasCustomPrompt="1"/>
          </p:nvPr>
        </p:nvSpPr>
        <p:spPr>
          <a:xfrm>
            <a:off x="985017" y="2113160"/>
            <a:ext cx="5251479" cy="388823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EEE722D-60AF-4DE6-89C9-C864FC7F2A7C}"/>
              </a:ext>
            </a:extLst>
          </p:cNvPr>
          <p:cNvSpPr/>
          <p:nvPr userDrawn="1"/>
        </p:nvSpPr>
        <p:spPr>
          <a:xfrm>
            <a:off x="9409955" y="3443747"/>
            <a:ext cx="1820335" cy="182033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B311B51-9EFF-4669-968F-F916D45A3E21}"/>
              </a:ext>
            </a:extLst>
          </p:cNvPr>
          <p:cNvSpPr/>
          <p:nvPr userDrawn="1"/>
        </p:nvSpPr>
        <p:spPr>
          <a:xfrm>
            <a:off x="7287273" y="2251650"/>
            <a:ext cx="2019365" cy="201936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F94D8982-EBD9-46E0-A7C1-56A961AEA6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669603" y="3396299"/>
            <a:ext cx="1221726" cy="462862"/>
          </a:xfrm>
        </p:spPr>
        <p:txBody>
          <a:bodyPr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F54F3429-C5B1-4083-B2F9-7DB3F2958A9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576734" y="2846230"/>
            <a:ext cx="1432712" cy="462862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A44D29D9-1DB9-44A3-9425-6EFCA5933E1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709457" y="4479339"/>
            <a:ext cx="1216418" cy="460851"/>
          </a:xfrm>
        </p:spPr>
        <p:txBody>
          <a:bodyPr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1A9F64C-FE7E-4877-9773-3C11ECFD590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616588" y="3929270"/>
            <a:ext cx="1426487" cy="460851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33D0DD55-E08D-4952-B71B-DAD4E36F3EEC}"/>
              </a:ext>
            </a:extLst>
          </p:cNvPr>
          <p:cNvSpPr/>
          <p:nvPr userDrawn="1"/>
        </p:nvSpPr>
        <p:spPr>
          <a:xfrm>
            <a:off x="9297254" y="963561"/>
            <a:ext cx="2091196" cy="209119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DDE29060-D3DB-4630-8D24-E2B0BB51682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759936" y="2123709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2272956E-34C5-4AE5-8BEA-3E2A47D29B6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658881" y="1606022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954187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and key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58FD6EA7-AC29-4ECA-BF03-E245357AD72A}"/>
              </a:ext>
            </a:extLst>
          </p:cNvPr>
          <p:cNvSpPr/>
          <p:nvPr userDrawn="1"/>
        </p:nvSpPr>
        <p:spPr>
          <a:xfrm>
            <a:off x="7350036" y="1801160"/>
            <a:ext cx="2222094" cy="222209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C1062A1A-B0DC-40DA-BFB2-3BC0B28A6C70}"/>
              </a:ext>
            </a:extLst>
          </p:cNvPr>
          <p:cNvSpPr/>
          <p:nvPr userDrawn="1"/>
        </p:nvSpPr>
        <p:spPr>
          <a:xfrm>
            <a:off x="7046879" y="4210562"/>
            <a:ext cx="2031366" cy="203136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8D55521E-0F7B-4D11-AD78-9FF8EFF7D524}"/>
              </a:ext>
            </a:extLst>
          </p:cNvPr>
          <p:cNvSpPr/>
          <p:nvPr userDrawn="1"/>
        </p:nvSpPr>
        <p:spPr>
          <a:xfrm>
            <a:off x="9333801" y="3606414"/>
            <a:ext cx="2074103" cy="207410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F4EFF120-A7CB-4072-B9B4-A343C2508EE0}"/>
              </a:ext>
            </a:extLst>
          </p:cNvPr>
          <p:cNvSpPr/>
          <p:nvPr userDrawn="1"/>
        </p:nvSpPr>
        <p:spPr>
          <a:xfrm>
            <a:off x="9812181" y="1585519"/>
            <a:ext cx="1690681" cy="169068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6" name="Text Placeholder 10">
            <a:extLst>
              <a:ext uri="{FF2B5EF4-FFF2-40B4-BE49-F238E27FC236}">
                <a16:creationId xmlns:a16="http://schemas.microsoft.com/office/drawing/2014/main" id="{A52255D5-8140-429B-ADEF-9999D45A39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90554" y="3050542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7" name="Text Placeholder 10">
            <a:extLst>
              <a:ext uri="{FF2B5EF4-FFF2-40B4-BE49-F238E27FC236}">
                <a16:creationId xmlns:a16="http://schemas.microsoft.com/office/drawing/2014/main" id="{9DACFCED-BEEF-443A-A881-D9363A6B9B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797685" y="2500473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8" name="Text Placeholder 10">
            <a:extLst>
              <a:ext uri="{FF2B5EF4-FFF2-40B4-BE49-F238E27FC236}">
                <a16:creationId xmlns:a16="http://schemas.microsoft.com/office/drawing/2014/main" id="{5C122CF5-DACA-4A38-AAE4-D6319E314A1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815654" y="4706675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87CE9040-DB19-47B0-95D6-DEBA73BFB3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722785" y="4156606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62" name="Text Placeholder 10">
            <a:extLst>
              <a:ext uri="{FF2B5EF4-FFF2-40B4-BE49-F238E27FC236}">
                <a16:creationId xmlns:a16="http://schemas.microsoft.com/office/drawing/2014/main" id="{F710A930-DDFF-47AD-A9FF-6F1F993C0D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62823" y="5287955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63" name="Text Placeholder 10">
            <a:extLst>
              <a:ext uri="{FF2B5EF4-FFF2-40B4-BE49-F238E27FC236}">
                <a16:creationId xmlns:a16="http://schemas.microsoft.com/office/drawing/2014/main" id="{3C1A8471-813D-41B1-AD59-1420B8AF912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369954" y="4737886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74" name="Text Placeholder 10">
            <a:extLst>
              <a:ext uri="{FF2B5EF4-FFF2-40B4-BE49-F238E27FC236}">
                <a16:creationId xmlns:a16="http://schemas.microsoft.com/office/drawing/2014/main" id="{EB0D8EF1-83E2-4204-8607-03ACCAD4184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075022" y="2538820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75" name="Text Placeholder 10">
            <a:extLst>
              <a:ext uri="{FF2B5EF4-FFF2-40B4-BE49-F238E27FC236}">
                <a16:creationId xmlns:a16="http://schemas.microsoft.com/office/drawing/2014/main" id="{B41B9E6E-841D-4501-A1EB-F244BF407E9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973967" y="2021133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2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17D07F44-D26D-4CDA-B364-B2A791FC05BE}"/>
              </a:ext>
            </a:extLst>
          </p:cNvPr>
          <p:cNvSpPr/>
          <p:nvPr userDrawn="1"/>
        </p:nvSpPr>
        <p:spPr>
          <a:xfrm>
            <a:off x="744194" y="1937982"/>
            <a:ext cx="5801924" cy="408568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D06FAFCC-0119-43E8-8D04-594E090D5E6B}"/>
              </a:ext>
            </a:extLst>
          </p:cNvPr>
          <p:cNvSpPr>
            <a:spLocks noGrp="1"/>
          </p:cNvSpPr>
          <p:nvPr>
            <p:ph type="chart" sz="quarter" idx="34"/>
          </p:nvPr>
        </p:nvSpPr>
        <p:spPr>
          <a:xfrm>
            <a:off x="984250" y="2135188"/>
            <a:ext cx="5329238" cy="3665537"/>
          </a:xfrm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245583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744B77EF-4B82-4794-AD3C-E79115911E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5017" y="2536339"/>
            <a:ext cx="5251479" cy="3258563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E1DEC835-BE40-455E-B1B9-EAD419FE90E5}"/>
              </a:ext>
            </a:extLst>
          </p:cNvPr>
          <p:cNvSpPr>
            <a:spLocks noGrp="1"/>
          </p:cNvSpPr>
          <p:nvPr>
            <p:ph idx="34" hasCustomPrompt="1"/>
          </p:nvPr>
        </p:nvSpPr>
        <p:spPr>
          <a:xfrm>
            <a:off x="985017" y="2113160"/>
            <a:ext cx="5251479" cy="388823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EEE722D-60AF-4DE6-89C9-C864FC7F2A7C}"/>
              </a:ext>
            </a:extLst>
          </p:cNvPr>
          <p:cNvSpPr/>
          <p:nvPr userDrawn="1"/>
        </p:nvSpPr>
        <p:spPr>
          <a:xfrm>
            <a:off x="9409955" y="3443747"/>
            <a:ext cx="1820335" cy="182033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B311B51-9EFF-4669-968F-F916D45A3E21}"/>
              </a:ext>
            </a:extLst>
          </p:cNvPr>
          <p:cNvSpPr/>
          <p:nvPr userDrawn="1"/>
        </p:nvSpPr>
        <p:spPr>
          <a:xfrm>
            <a:off x="7287273" y="2251650"/>
            <a:ext cx="2019365" cy="201936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F94D8982-EBD9-46E0-A7C1-56A961AEA6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669603" y="3396299"/>
            <a:ext cx="1221726" cy="462862"/>
          </a:xfrm>
        </p:spPr>
        <p:txBody>
          <a:bodyPr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F54F3429-C5B1-4083-B2F9-7DB3F2958A9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576734" y="2846230"/>
            <a:ext cx="1432712" cy="462862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A44D29D9-1DB9-44A3-9425-6EFCA5933E1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709457" y="4479339"/>
            <a:ext cx="1216418" cy="460851"/>
          </a:xfrm>
        </p:spPr>
        <p:txBody>
          <a:bodyPr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1A9F64C-FE7E-4877-9773-3C11ECFD590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616588" y="3929270"/>
            <a:ext cx="1426487" cy="460851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33D0DD55-E08D-4952-B71B-DAD4E36F3EEC}"/>
              </a:ext>
            </a:extLst>
          </p:cNvPr>
          <p:cNvSpPr/>
          <p:nvPr userDrawn="1"/>
        </p:nvSpPr>
        <p:spPr>
          <a:xfrm>
            <a:off x="9297254" y="963561"/>
            <a:ext cx="2091196" cy="209119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DDE29060-D3DB-4630-8D24-E2B0BB51682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759936" y="2123709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2272956E-34C5-4AE5-8BEA-3E2A47D29B6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658881" y="1606022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2633158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58FD6EA7-AC29-4ECA-BF03-E245357AD72A}"/>
              </a:ext>
            </a:extLst>
          </p:cNvPr>
          <p:cNvSpPr/>
          <p:nvPr userDrawn="1"/>
        </p:nvSpPr>
        <p:spPr>
          <a:xfrm>
            <a:off x="6745659" y="2249757"/>
            <a:ext cx="2222094" cy="222209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C1062A1A-B0DC-40DA-BFB2-3BC0B28A6C70}"/>
              </a:ext>
            </a:extLst>
          </p:cNvPr>
          <p:cNvSpPr/>
          <p:nvPr userDrawn="1"/>
        </p:nvSpPr>
        <p:spPr>
          <a:xfrm>
            <a:off x="8581980" y="4084798"/>
            <a:ext cx="2031366" cy="203136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8D55521E-0F7B-4D11-AD78-9FF8EFF7D524}"/>
              </a:ext>
            </a:extLst>
          </p:cNvPr>
          <p:cNvSpPr/>
          <p:nvPr userDrawn="1"/>
        </p:nvSpPr>
        <p:spPr>
          <a:xfrm>
            <a:off x="9208679" y="1652428"/>
            <a:ext cx="2328334" cy="2328332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F4EFF120-A7CB-4072-B9B4-A343C2508EE0}"/>
              </a:ext>
            </a:extLst>
          </p:cNvPr>
          <p:cNvSpPr/>
          <p:nvPr userDrawn="1"/>
        </p:nvSpPr>
        <p:spPr>
          <a:xfrm>
            <a:off x="7804780" y="468634"/>
            <a:ext cx="1690681" cy="169068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6" name="Text Placeholder 10">
            <a:extLst>
              <a:ext uri="{FF2B5EF4-FFF2-40B4-BE49-F238E27FC236}">
                <a16:creationId xmlns:a16="http://schemas.microsoft.com/office/drawing/2014/main" id="{A52255D5-8140-429B-ADEF-9999D45A39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86177" y="3431381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7" name="Text Placeholder 10">
            <a:extLst>
              <a:ext uri="{FF2B5EF4-FFF2-40B4-BE49-F238E27FC236}">
                <a16:creationId xmlns:a16="http://schemas.microsoft.com/office/drawing/2014/main" id="{9DACFCED-BEEF-443A-A881-D9363A6B9B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93308" y="2908126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8" name="Text Placeholder 10">
            <a:extLst>
              <a:ext uri="{FF2B5EF4-FFF2-40B4-BE49-F238E27FC236}">
                <a16:creationId xmlns:a16="http://schemas.microsoft.com/office/drawing/2014/main" id="{5C122CF5-DACA-4A38-AAE4-D6319E314A1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690532" y="2953930"/>
            <a:ext cx="1280922" cy="485289"/>
          </a:xfrm>
        </p:spPr>
        <p:txBody>
          <a:bodyPr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87CE9040-DB19-47B0-95D6-DEBA73BFB3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97663" y="2403861"/>
            <a:ext cx="1502131" cy="485289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62" name="Text Placeholder 10">
            <a:extLst>
              <a:ext uri="{FF2B5EF4-FFF2-40B4-BE49-F238E27FC236}">
                <a16:creationId xmlns:a16="http://schemas.microsoft.com/office/drawing/2014/main" id="{F710A930-DDFF-47AD-A9FF-6F1F993C0D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997924" y="5162191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63" name="Text Placeholder 10">
            <a:extLst>
              <a:ext uri="{FF2B5EF4-FFF2-40B4-BE49-F238E27FC236}">
                <a16:creationId xmlns:a16="http://schemas.microsoft.com/office/drawing/2014/main" id="{3C1A8471-813D-41B1-AD59-1420B8AF912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905055" y="4612122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74" name="Text Placeholder 10">
            <a:extLst>
              <a:ext uri="{FF2B5EF4-FFF2-40B4-BE49-F238E27FC236}">
                <a16:creationId xmlns:a16="http://schemas.microsoft.com/office/drawing/2014/main" id="{EB0D8EF1-83E2-4204-8607-03ACCAD4184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067621" y="1421935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75" name="Text Placeholder 10">
            <a:extLst>
              <a:ext uri="{FF2B5EF4-FFF2-40B4-BE49-F238E27FC236}">
                <a16:creationId xmlns:a16="http://schemas.microsoft.com/office/drawing/2014/main" id="{B41B9E6E-841D-4501-A1EB-F244BF407E9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966566" y="904248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2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427E6CB8-8F93-4F47-B74B-CD2576C31C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4194" y="1693177"/>
            <a:ext cx="5213811" cy="402580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74132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4_Quot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7441EF2-02CF-41BA-8DB3-66C6CF94DB98}"/>
              </a:ext>
            </a:extLst>
          </p:cNvPr>
          <p:cNvSpPr/>
          <p:nvPr userDrawn="1"/>
        </p:nvSpPr>
        <p:spPr>
          <a:xfrm>
            <a:off x="9346039" y="5951661"/>
            <a:ext cx="2448272" cy="7920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fld id="{F7DC6A67-F745-42FE-82D1-7A561047EC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3502869"/>
            <a:ext cx="10706788" cy="643389"/>
          </a:xfrm>
        </p:spPr>
        <p:txBody>
          <a:bodyPr anchor="t"/>
          <a:lstStyle>
            <a:lvl1pPr algn="ctr">
              <a:defRPr sz="1900" b="1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4194" y="1358241"/>
            <a:ext cx="10706788" cy="1925409"/>
          </a:xfrm>
        </p:spPr>
        <p:txBody>
          <a:bodyPr anchor="b">
            <a:noAutofit/>
          </a:bodyPr>
          <a:lstStyle>
            <a:lvl1pPr marL="0" indent="0" algn="ctr">
              <a:buNone/>
              <a:defRPr sz="4800" cap="all" baseline="0">
                <a:solidFill>
                  <a:schemeClr val="accent5"/>
                </a:solidFill>
                <a:latin typeface="Arial Black" pitchFamily="34" charset="0"/>
              </a:defRPr>
            </a:lvl1pPr>
            <a:lvl2pPr marL="544479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8895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3343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4pPr>
            <a:lvl5pPr marL="217791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5pPr>
            <a:lvl6pPr marL="2722397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6pPr>
            <a:lvl7pPr marL="3266877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7pPr>
            <a:lvl8pPr marL="3811356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8pPr>
            <a:lvl9pPr marL="4355836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9" descr="liten SA Logo.png">
            <a:extLst>
              <a:ext uri="{FF2B5EF4-FFF2-40B4-BE49-F238E27FC236}">
                <a16:creationId xmlns:a16="http://schemas.microsoft.com/office/drawing/2014/main" id="{CAA70ED4-1C3B-41B7-9371-9DFFF453C3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6621" y="6284235"/>
            <a:ext cx="1944000" cy="292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24770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D8CE62B5-4A7D-4102-BEB0-A7E5264C9C0A}"/>
              </a:ext>
            </a:extLst>
          </p:cNvPr>
          <p:cNvSpPr/>
          <p:nvPr userDrawn="1"/>
        </p:nvSpPr>
        <p:spPr>
          <a:xfrm>
            <a:off x="8873888" y="3365091"/>
            <a:ext cx="2514562" cy="251456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7C8834FF-F9C6-4AB2-A234-D6A4A638E1BC}"/>
              </a:ext>
            </a:extLst>
          </p:cNvPr>
          <p:cNvSpPr/>
          <p:nvPr userDrawn="1"/>
        </p:nvSpPr>
        <p:spPr>
          <a:xfrm>
            <a:off x="7020233" y="1929056"/>
            <a:ext cx="2153835" cy="215383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C06142BE-4026-42A0-BB0F-3A65DC668D8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79757" y="3137725"/>
            <a:ext cx="1385179" cy="524788"/>
          </a:xfrm>
        </p:spPr>
        <p:txBody>
          <a:bodyPr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04B298B0-503C-4A96-9416-D553388A05C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58661" y="2587656"/>
            <a:ext cx="1624392" cy="524788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8" name="Text Placeholder 10">
            <a:extLst>
              <a:ext uri="{FF2B5EF4-FFF2-40B4-BE49-F238E27FC236}">
                <a16:creationId xmlns:a16="http://schemas.microsoft.com/office/drawing/2014/main" id="{5C122CF5-DACA-4A38-AAE4-D6319E314A1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40846" y="4802713"/>
            <a:ext cx="1680328" cy="636607"/>
          </a:xfrm>
        </p:spPr>
        <p:txBody>
          <a:bodyPr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87CE9040-DB19-47B0-95D6-DEBA73BFB3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97015" y="4125644"/>
            <a:ext cx="1970512" cy="636608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FFD8C0FC-224E-44AE-9A65-0C145F1AE3B4}"/>
              </a:ext>
            </a:extLst>
          </p:cNvPr>
          <p:cNvSpPr/>
          <p:nvPr userDrawn="1"/>
        </p:nvSpPr>
        <p:spPr>
          <a:xfrm>
            <a:off x="9276818" y="893717"/>
            <a:ext cx="2292931" cy="229293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74" name="Text Placeholder 10">
            <a:extLst>
              <a:ext uri="{FF2B5EF4-FFF2-40B4-BE49-F238E27FC236}">
                <a16:creationId xmlns:a16="http://schemas.microsoft.com/office/drawing/2014/main" id="{EB0D8EF1-83E2-4204-8607-03ACCAD4184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760928" y="2153674"/>
            <a:ext cx="1251133" cy="474003"/>
          </a:xfrm>
        </p:spPr>
        <p:txBody>
          <a:bodyPr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75" name="Text Placeholder 10">
            <a:extLst>
              <a:ext uri="{FF2B5EF4-FFF2-40B4-BE49-F238E27FC236}">
                <a16:creationId xmlns:a16="http://schemas.microsoft.com/office/drawing/2014/main" id="{B41B9E6E-841D-4501-A1EB-F244BF407E9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665626" y="1597887"/>
            <a:ext cx="1467198" cy="474003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36ED6CC-1C9D-41BB-9872-CC6C407E31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4194" y="1693177"/>
            <a:ext cx="5857449" cy="402580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88419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FA02EF27-A0AF-4293-9B5E-F8C9239AD2E9}"/>
              </a:ext>
            </a:extLst>
          </p:cNvPr>
          <p:cNvSpPr/>
          <p:nvPr userDrawn="1"/>
        </p:nvSpPr>
        <p:spPr>
          <a:xfrm>
            <a:off x="7249715" y="931614"/>
            <a:ext cx="1515234" cy="151523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D8CE62B5-4A7D-4102-BEB0-A7E5264C9C0A}"/>
              </a:ext>
            </a:extLst>
          </p:cNvPr>
          <p:cNvSpPr/>
          <p:nvPr userDrawn="1"/>
        </p:nvSpPr>
        <p:spPr>
          <a:xfrm>
            <a:off x="9819033" y="3316862"/>
            <a:ext cx="1707561" cy="170756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6" name="Text Placeholder 10">
            <a:extLst>
              <a:ext uri="{FF2B5EF4-FFF2-40B4-BE49-F238E27FC236}">
                <a16:creationId xmlns:a16="http://schemas.microsoft.com/office/drawing/2014/main" id="{A52255D5-8140-429B-ADEF-9999D45A39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38074" y="1811302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7" name="Text Placeholder 10">
            <a:extLst>
              <a:ext uri="{FF2B5EF4-FFF2-40B4-BE49-F238E27FC236}">
                <a16:creationId xmlns:a16="http://schemas.microsoft.com/office/drawing/2014/main" id="{9DACFCED-BEEF-443A-A881-D9363A6B9B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17795" y="1336800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7C8834FF-F9C6-4AB2-A234-D6A4A638E1BC}"/>
              </a:ext>
            </a:extLst>
          </p:cNvPr>
          <p:cNvSpPr/>
          <p:nvPr userDrawn="1"/>
        </p:nvSpPr>
        <p:spPr>
          <a:xfrm>
            <a:off x="7586750" y="2688168"/>
            <a:ext cx="1886030" cy="188603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C06142BE-4026-42A0-BB0F-3A65DC668D8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969079" y="3730044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04B298B0-503C-4A96-9416-D553388A05C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876210" y="3179975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8" name="Text Placeholder 10">
            <a:extLst>
              <a:ext uri="{FF2B5EF4-FFF2-40B4-BE49-F238E27FC236}">
                <a16:creationId xmlns:a16="http://schemas.microsoft.com/office/drawing/2014/main" id="{5C122CF5-DACA-4A38-AAE4-D6319E314A1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18535" y="4268231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87CE9040-DB19-47B0-95D6-DEBA73BFB3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025666" y="3718162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FFD8C0FC-224E-44AE-9A65-0C145F1AE3B4}"/>
              </a:ext>
            </a:extLst>
          </p:cNvPr>
          <p:cNvSpPr/>
          <p:nvPr userDrawn="1"/>
        </p:nvSpPr>
        <p:spPr>
          <a:xfrm>
            <a:off x="9297254" y="963561"/>
            <a:ext cx="2091196" cy="209119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74" name="Text Placeholder 10">
            <a:extLst>
              <a:ext uri="{FF2B5EF4-FFF2-40B4-BE49-F238E27FC236}">
                <a16:creationId xmlns:a16="http://schemas.microsoft.com/office/drawing/2014/main" id="{EB0D8EF1-83E2-4204-8607-03ACCAD4184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759936" y="2135237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75" name="Text Placeholder 10">
            <a:extLst>
              <a:ext uri="{FF2B5EF4-FFF2-40B4-BE49-F238E27FC236}">
                <a16:creationId xmlns:a16="http://schemas.microsoft.com/office/drawing/2014/main" id="{B41B9E6E-841D-4501-A1EB-F244BF407E9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658881" y="1606022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36ED6CC-1C9D-41BB-9872-CC6C407E31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4194" y="1693177"/>
            <a:ext cx="5857449" cy="402580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36042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FA02EF27-A0AF-4293-9B5E-F8C9239AD2E9}"/>
              </a:ext>
            </a:extLst>
          </p:cNvPr>
          <p:cNvSpPr/>
          <p:nvPr userDrawn="1"/>
        </p:nvSpPr>
        <p:spPr>
          <a:xfrm>
            <a:off x="7427634" y="678455"/>
            <a:ext cx="1515234" cy="151523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D8CE62B5-4A7D-4102-BEB0-A7E5264C9C0A}"/>
              </a:ext>
            </a:extLst>
          </p:cNvPr>
          <p:cNvSpPr/>
          <p:nvPr userDrawn="1"/>
        </p:nvSpPr>
        <p:spPr>
          <a:xfrm>
            <a:off x="8468186" y="4341775"/>
            <a:ext cx="1707561" cy="170756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6" name="Text Placeholder 10">
            <a:extLst>
              <a:ext uri="{FF2B5EF4-FFF2-40B4-BE49-F238E27FC236}">
                <a16:creationId xmlns:a16="http://schemas.microsoft.com/office/drawing/2014/main" id="{A52255D5-8140-429B-ADEF-9999D45A39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15993" y="1558143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7" name="Text Placeholder 10">
            <a:extLst>
              <a:ext uri="{FF2B5EF4-FFF2-40B4-BE49-F238E27FC236}">
                <a16:creationId xmlns:a16="http://schemas.microsoft.com/office/drawing/2014/main" id="{9DACFCED-BEEF-443A-A881-D9363A6B9B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95714" y="1083641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7C8834FF-F9C6-4AB2-A234-D6A4A638E1BC}"/>
              </a:ext>
            </a:extLst>
          </p:cNvPr>
          <p:cNvSpPr/>
          <p:nvPr userDrawn="1"/>
        </p:nvSpPr>
        <p:spPr>
          <a:xfrm>
            <a:off x="7537334" y="2451949"/>
            <a:ext cx="1886030" cy="188603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C06142BE-4026-42A0-BB0F-3A65DC668D8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919663" y="3503389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04B298B0-503C-4A96-9416-D553388A05C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826794" y="2943756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8" name="Text Placeholder 10">
            <a:extLst>
              <a:ext uri="{FF2B5EF4-FFF2-40B4-BE49-F238E27FC236}">
                <a16:creationId xmlns:a16="http://schemas.microsoft.com/office/drawing/2014/main" id="{5C122CF5-DACA-4A38-AAE4-D6319E314A1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67688" y="5293144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87CE9040-DB19-47B0-95D6-DEBA73BFB3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74819" y="4743075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FFD8C0FC-224E-44AE-9A65-0C145F1AE3B4}"/>
              </a:ext>
            </a:extLst>
          </p:cNvPr>
          <p:cNvSpPr/>
          <p:nvPr userDrawn="1"/>
        </p:nvSpPr>
        <p:spPr>
          <a:xfrm>
            <a:off x="9210757" y="889420"/>
            <a:ext cx="2091196" cy="209119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74" name="Text Placeholder 10">
            <a:extLst>
              <a:ext uri="{FF2B5EF4-FFF2-40B4-BE49-F238E27FC236}">
                <a16:creationId xmlns:a16="http://schemas.microsoft.com/office/drawing/2014/main" id="{EB0D8EF1-83E2-4204-8607-03ACCAD4184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673439" y="2062977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75" name="Text Placeholder 10">
            <a:extLst>
              <a:ext uri="{FF2B5EF4-FFF2-40B4-BE49-F238E27FC236}">
                <a16:creationId xmlns:a16="http://schemas.microsoft.com/office/drawing/2014/main" id="{B41B9E6E-841D-4501-A1EB-F244BF407E9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72384" y="1531881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36ED6CC-1C9D-41BB-9872-CC6C407E31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4194" y="1693177"/>
            <a:ext cx="5857449" cy="402580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217BF73A-FA5A-42DA-92D6-938EA05F486B}"/>
              </a:ext>
            </a:extLst>
          </p:cNvPr>
          <p:cNvSpPr/>
          <p:nvPr userDrawn="1"/>
        </p:nvSpPr>
        <p:spPr>
          <a:xfrm>
            <a:off x="9922889" y="3090111"/>
            <a:ext cx="1515234" cy="151523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E45A380A-A117-4A61-8B9C-003585B6F6A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111248" y="3969799"/>
            <a:ext cx="1141058" cy="432300"/>
          </a:xfrm>
        </p:spPr>
        <p:txBody>
          <a:bodyPr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D9CB9C4A-CD4D-4323-8952-408D2EBF270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990969" y="3495297"/>
            <a:ext cx="1338113" cy="432300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solidFill>
                  <a:schemeClr val="accent5"/>
                </a:solidFill>
              </a:defRPr>
            </a:lvl1pPr>
            <a:lvl4pPr>
              <a:defRPr/>
            </a:lvl4pPr>
          </a:lstStyle>
          <a:p>
            <a:pPr lvl="0"/>
            <a:r>
              <a:rPr lang="en-US" dirty="0"/>
              <a:t>[</a:t>
            </a:r>
            <a:r>
              <a:rPr lang="en-US" dirty="0" err="1"/>
              <a:t>xxxx</a:t>
            </a:r>
            <a:r>
              <a:rPr lang="en-US" dirty="0"/>
              <a:t>]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2973586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1FB0EA4-5487-493D-A224-9F30A742575C}"/>
              </a:ext>
            </a:extLst>
          </p:cNvPr>
          <p:cNvSpPr/>
          <p:nvPr userDrawn="1"/>
        </p:nvSpPr>
        <p:spPr>
          <a:xfrm>
            <a:off x="3420890" y="3020104"/>
            <a:ext cx="2511279" cy="271429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0410AB08-086E-4383-BEDC-8F22084CC216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630426" y="3502617"/>
            <a:ext cx="2079146" cy="203852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6832ED4-58C9-4304-87C2-FF58E3890C61}"/>
              </a:ext>
            </a:extLst>
          </p:cNvPr>
          <p:cNvSpPr/>
          <p:nvPr userDrawn="1"/>
        </p:nvSpPr>
        <p:spPr>
          <a:xfrm>
            <a:off x="6097586" y="2602335"/>
            <a:ext cx="2511279" cy="313206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0" name="Content Placeholder 2">
            <a:extLst>
              <a:ext uri="{FF2B5EF4-FFF2-40B4-BE49-F238E27FC236}">
                <a16:creationId xmlns:a16="http://schemas.microsoft.com/office/drawing/2014/main" id="{54A97C03-1B1F-4ABC-A3D8-10A90E30D5ED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07122" y="3084163"/>
            <a:ext cx="2079146" cy="245697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539F244-89D8-4944-9829-6B172DD68DF1}"/>
              </a:ext>
            </a:extLst>
          </p:cNvPr>
          <p:cNvSpPr/>
          <p:nvPr userDrawn="1"/>
        </p:nvSpPr>
        <p:spPr>
          <a:xfrm>
            <a:off x="8774282" y="2114939"/>
            <a:ext cx="2511279" cy="361945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2" name="Content Placeholder 2">
            <a:extLst>
              <a:ext uri="{FF2B5EF4-FFF2-40B4-BE49-F238E27FC236}">
                <a16:creationId xmlns:a16="http://schemas.microsoft.com/office/drawing/2014/main" id="{B933CDA2-27FB-4BAE-9F4A-A4A0BB453A6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983818" y="2572719"/>
            <a:ext cx="2079146" cy="296842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23AB3C93-AE77-4701-A6FA-1C943ED2F0EF}"/>
              </a:ext>
            </a:extLst>
          </p:cNvPr>
          <p:cNvSpPr/>
          <p:nvPr userDrawn="1"/>
        </p:nvSpPr>
        <p:spPr>
          <a:xfrm>
            <a:off x="744195" y="3431380"/>
            <a:ext cx="2511279" cy="228760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bg1"/>
              </a:solidFill>
            </a:endParaRPr>
          </a:p>
        </p:txBody>
      </p:sp>
      <p:sp>
        <p:nvSpPr>
          <p:cNvPr id="44" name="Content Placeholder 2">
            <a:extLst>
              <a:ext uri="{FF2B5EF4-FFF2-40B4-BE49-F238E27FC236}">
                <a16:creationId xmlns:a16="http://schemas.microsoft.com/office/drawing/2014/main" id="{FD436C30-DEE5-48B6-BB55-6BEF5941B7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53731" y="3905573"/>
            <a:ext cx="2079146" cy="1620154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4"/>
                </a:solidFill>
              </a:defRPr>
            </a:lvl3pPr>
            <a:lvl4pPr>
              <a:defRPr>
                <a:solidFill>
                  <a:schemeClr val="accent4"/>
                </a:solidFill>
              </a:defRPr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4FA8EADF-14C8-49D0-A463-11AA1E8766E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953731" y="3557565"/>
            <a:ext cx="2079146" cy="334297"/>
          </a:xfrm>
        </p:spPr>
        <p:txBody>
          <a:bodyPr/>
          <a:lstStyle>
            <a:lvl1pPr marL="0" indent="0">
              <a:buNone/>
              <a:defRPr b="1">
                <a:solidFill>
                  <a:schemeClr val="accent4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4"/>
                </a:solidFill>
              </a:defRPr>
            </a:lvl3pPr>
            <a:lvl4pPr>
              <a:defRPr>
                <a:solidFill>
                  <a:schemeClr val="accent4"/>
                </a:solidFill>
              </a:defRPr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48" name="Content Placeholder 2">
            <a:extLst>
              <a:ext uri="{FF2B5EF4-FFF2-40B4-BE49-F238E27FC236}">
                <a16:creationId xmlns:a16="http://schemas.microsoft.com/office/drawing/2014/main" id="{72AC3FFE-E4DB-4CD9-9E96-4C46BF367C76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630426" y="3165897"/>
            <a:ext cx="2079146" cy="314632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EA547CD8-01F0-4B82-9D9A-357EE49D068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307122" y="2740006"/>
            <a:ext cx="2079146" cy="334296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50" name="Content Placeholder 2">
            <a:extLst>
              <a:ext uri="{FF2B5EF4-FFF2-40B4-BE49-F238E27FC236}">
                <a16:creationId xmlns:a16="http://schemas.microsoft.com/office/drawing/2014/main" id="{3C6C90B7-72A2-4F62-82E2-D7E74483A8A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983818" y="2245179"/>
            <a:ext cx="2079146" cy="334296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3253521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211BD83-C7AC-483B-B986-D188B970B5C6}"/>
              </a:ext>
            </a:extLst>
          </p:cNvPr>
          <p:cNvSpPr/>
          <p:nvPr userDrawn="1"/>
        </p:nvSpPr>
        <p:spPr>
          <a:xfrm>
            <a:off x="744195" y="3431380"/>
            <a:ext cx="2511279" cy="252028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bg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1FB0EA4-5487-493D-A224-9F30A742575C}"/>
              </a:ext>
            </a:extLst>
          </p:cNvPr>
          <p:cNvSpPr/>
          <p:nvPr userDrawn="1"/>
        </p:nvSpPr>
        <p:spPr>
          <a:xfrm>
            <a:off x="3420891" y="3020103"/>
            <a:ext cx="2511279" cy="293155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bg1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6832ED4-58C9-4304-87C2-FF58E3890C61}"/>
              </a:ext>
            </a:extLst>
          </p:cNvPr>
          <p:cNvSpPr/>
          <p:nvPr userDrawn="1"/>
        </p:nvSpPr>
        <p:spPr>
          <a:xfrm>
            <a:off x="6097587" y="2602335"/>
            <a:ext cx="2511279" cy="33493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bg1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539F244-89D8-4944-9829-6B172DD68DF1}"/>
              </a:ext>
            </a:extLst>
          </p:cNvPr>
          <p:cNvSpPr/>
          <p:nvPr userDrawn="1"/>
        </p:nvSpPr>
        <p:spPr>
          <a:xfrm>
            <a:off x="8774282" y="2114939"/>
            <a:ext cx="2511279" cy="383672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bg1"/>
              </a:solidFill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3545657-A94F-42DC-ABE8-86D4839E245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630426" y="3539613"/>
            <a:ext cx="2079146" cy="22220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1EDB936-D1F9-4A29-B648-F605F68D96FD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07122" y="3146323"/>
            <a:ext cx="2079146" cy="26153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29A70263-86C7-4EEA-BD2D-CA4B2A8AEEDC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983818" y="2635044"/>
            <a:ext cx="2079146" cy="312665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7A6423B-DC1F-44E0-A02C-3513C5B15F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53731" y="3935437"/>
            <a:ext cx="2079146" cy="18262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611ED387-E1BD-4866-A1BF-DA87822731C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953731" y="3601140"/>
            <a:ext cx="2079146" cy="334297"/>
          </a:xfr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4"/>
                </a:solidFill>
              </a:defRPr>
            </a:lvl3pPr>
            <a:lvl4pPr>
              <a:defRPr>
                <a:solidFill>
                  <a:schemeClr val="accent4"/>
                </a:solidFill>
              </a:defRPr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55C45676-5319-4A27-98D5-F2AA06A042D2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630426" y="3188757"/>
            <a:ext cx="2079146" cy="314632"/>
          </a:xfr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C307A643-C86C-40C7-9CFC-73FA82A91CB0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307122" y="2762866"/>
            <a:ext cx="2079146" cy="334296"/>
          </a:xfr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118D02DF-5127-4861-9CAB-ADCBCF52F74E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983818" y="2268039"/>
            <a:ext cx="2079146" cy="334296"/>
          </a:xfr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41924127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40E03E7-8D61-48C7-B7AE-6016DF8F4B23}"/>
              </a:ext>
            </a:extLst>
          </p:cNvPr>
          <p:cNvSpPr/>
          <p:nvPr userDrawn="1"/>
        </p:nvSpPr>
        <p:spPr>
          <a:xfrm>
            <a:off x="744193" y="2840491"/>
            <a:ext cx="2532049" cy="30490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4"/>
              </a:solidFill>
            </a:endParaRP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CCCF2ADA-E545-4BCE-821B-44535420EFB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53726" y="3323303"/>
            <a:ext cx="2108671" cy="2329201"/>
          </a:xfrm>
        </p:spPr>
        <p:txBody>
          <a:bodyPr/>
          <a:lstStyle>
            <a:lvl1pPr algn="l">
              <a:defRPr>
                <a:solidFill>
                  <a:schemeClr val="accent4"/>
                </a:solidFill>
              </a:defRPr>
            </a:lvl1pPr>
            <a:lvl2pPr algn="l">
              <a:defRPr>
                <a:solidFill>
                  <a:schemeClr val="accent4"/>
                </a:solidFill>
              </a:defRPr>
            </a:lvl2pPr>
            <a:lvl3pPr algn="l">
              <a:defRPr>
                <a:solidFill>
                  <a:schemeClr val="accent4"/>
                </a:solidFill>
              </a:defRPr>
            </a:lvl3pPr>
            <a:lvl4pPr algn="l">
              <a:defRPr>
                <a:solidFill>
                  <a:schemeClr val="accent4"/>
                </a:solidFill>
              </a:defRPr>
            </a:lvl4pPr>
            <a:lvl5pPr algn="l"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dirty="0"/>
              <a:t>Edit Master text </a:t>
            </a:r>
            <a:r>
              <a:rPr lang="en-US" dirty="0" err="1"/>
              <a:t>stylese</a:t>
            </a:r>
            <a:endParaRPr lang="en-US" dirty="0"/>
          </a:p>
          <a:p>
            <a:pPr lvl="1"/>
            <a:r>
              <a:rPr lang="en-US" dirty="0"/>
              <a:t>Second </a:t>
            </a:r>
            <a:r>
              <a:rPr lang="en-US" dirty="0" err="1"/>
              <a:t>lvel</a:t>
            </a:r>
            <a:endParaRPr lang="en-US" dirty="0"/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90CCDAA-8F2C-4FC6-826B-13964F858B90}"/>
              </a:ext>
            </a:extLst>
          </p:cNvPr>
          <p:cNvSpPr/>
          <p:nvPr userDrawn="1"/>
        </p:nvSpPr>
        <p:spPr>
          <a:xfrm>
            <a:off x="3426878" y="2840491"/>
            <a:ext cx="2532049" cy="30490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4"/>
              </a:solidFill>
            </a:endParaRP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EEDCFFD5-8A85-4295-AE20-75C4F237A0F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621567" y="3323303"/>
            <a:ext cx="2108671" cy="2329202"/>
          </a:xfrm>
        </p:spPr>
        <p:txBody>
          <a:bodyPr/>
          <a:lstStyle>
            <a:lvl1pPr algn="l">
              <a:defRPr>
                <a:solidFill>
                  <a:schemeClr val="accent4"/>
                </a:solidFill>
              </a:defRPr>
            </a:lvl1pPr>
            <a:lvl2pPr algn="l">
              <a:defRPr>
                <a:solidFill>
                  <a:schemeClr val="accent4"/>
                </a:solidFill>
              </a:defRPr>
            </a:lvl2pPr>
            <a:lvl3pPr algn="l">
              <a:defRPr>
                <a:solidFill>
                  <a:schemeClr val="accent4"/>
                </a:solidFill>
              </a:defRPr>
            </a:lvl3pPr>
            <a:lvl4pPr algn="l">
              <a:defRPr>
                <a:solidFill>
                  <a:schemeClr val="accent4"/>
                </a:solidFill>
              </a:defRPr>
            </a:lvl4pPr>
            <a:lvl5pPr algn="l"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CF7AE05-68AB-4C39-A4BF-178658909074}"/>
              </a:ext>
            </a:extLst>
          </p:cNvPr>
          <p:cNvSpPr/>
          <p:nvPr userDrawn="1"/>
        </p:nvSpPr>
        <p:spPr>
          <a:xfrm>
            <a:off x="6109563" y="2840491"/>
            <a:ext cx="2532049" cy="30490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4"/>
              </a:solidFill>
            </a:endParaRP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19909D8-94AE-400D-B3CF-526109D1468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07120" y="3323303"/>
            <a:ext cx="2108671" cy="2329202"/>
          </a:xfrm>
        </p:spPr>
        <p:txBody>
          <a:bodyPr/>
          <a:lstStyle>
            <a:lvl1pPr algn="l">
              <a:defRPr>
                <a:solidFill>
                  <a:schemeClr val="accent4"/>
                </a:solidFill>
              </a:defRPr>
            </a:lvl1pPr>
            <a:lvl2pPr algn="l">
              <a:defRPr>
                <a:solidFill>
                  <a:schemeClr val="accent4"/>
                </a:solidFill>
              </a:defRPr>
            </a:lvl2pPr>
            <a:lvl3pPr algn="l">
              <a:defRPr>
                <a:solidFill>
                  <a:schemeClr val="accent4"/>
                </a:solidFill>
              </a:defRPr>
            </a:lvl3pPr>
            <a:lvl4pPr algn="l">
              <a:defRPr>
                <a:solidFill>
                  <a:schemeClr val="accent4"/>
                </a:solidFill>
              </a:defRPr>
            </a:lvl4pPr>
            <a:lvl5pPr algn="l"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91A0899-40C6-49F4-99F0-8EE3E47EF49C}"/>
              </a:ext>
            </a:extLst>
          </p:cNvPr>
          <p:cNvSpPr/>
          <p:nvPr userDrawn="1"/>
        </p:nvSpPr>
        <p:spPr>
          <a:xfrm>
            <a:off x="8792248" y="2851048"/>
            <a:ext cx="2532049" cy="30490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accent4"/>
              </a:solidFill>
            </a:endParaRP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FCC3B421-83C6-4D91-AE6F-C05CA30092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001781" y="3323302"/>
            <a:ext cx="2108671" cy="2340442"/>
          </a:xfrm>
        </p:spPr>
        <p:txBody>
          <a:bodyPr/>
          <a:lstStyle>
            <a:lvl1pPr algn="l">
              <a:defRPr>
                <a:solidFill>
                  <a:schemeClr val="accent4"/>
                </a:solidFill>
              </a:defRPr>
            </a:lvl1pPr>
            <a:lvl2pPr algn="l">
              <a:defRPr>
                <a:solidFill>
                  <a:schemeClr val="accent4"/>
                </a:solidFill>
              </a:defRPr>
            </a:lvl2pPr>
            <a:lvl3pPr algn="l">
              <a:defRPr>
                <a:solidFill>
                  <a:schemeClr val="accent4"/>
                </a:solidFill>
              </a:defRPr>
            </a:lvl3pPr>
            <a:lvl4pPr algn="l">
              <a:defRPr>
                <a:solidFill>
                  <a:schemeClr val="accent4"/>
                </a:solidFill>
              </a:defRPr>
            </a:lvl4pPr>
            <a:lvl5pPr algn="l"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8393F90A-395C-49C3-9F39-67D7AB85DFE1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953726" y="3008671"/>
            <a:ext cx="2108671" cy="314631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accent4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00630A6C-B025-4079-8E94-E998AD780BF9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621567" y="3008671"/>
            <a:ext cx="2108671" cy="314631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accent4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FB4E1BF5-C79D-447D-B663-36266A3AFDB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302350" y="3008671"/>
            <a:ext cx="2108671" cy="314631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accent4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3BEB8FE9-FDBA-4F07-8257-74471F9F4CDF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01781" y="3008671"/>
            <a:ext cx="2108671" cy="314631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accent4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30207047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1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8A2EAC1-435E-432C-815D-BADCBE31B728}"/>
              </a:ext>
            </a:extLst>
          </p:cNvPr>
          <p:cNvSpPr/>
          <p:nvPr userDrawn="1"/>
        </p:nvSpPr>
        <p:spPr>
          <a:xfrm>
            <a:off x="744193" y="2840491"/>
            <a:ext cx="2532049" cy="304903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0F15C6E-8955-48B1-B9C7-55AFAFB3A6A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53726" y="3323303"/>
            <a:ext cx="2108671" cy="2329201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l"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</a:t>
            </a:r>
            <a:r>
              <a:rPr lang="en-US" dirty="0" err="1"/>
              <a:t>stylese</a:t>
            </a:r>
            <a:endParaRPr lang="en-US" dirty="0"/>
          </a:p>
          <a:p>
            <a:pPr lvl="1"/>
            <a:r>
              <a:rPr lang="en-US" dirty="0"/>
              <a:t>Second </a:t>
            </a:r>
            <a:r>
              <a:rPr lang="en-US" dirty="0" err="1"/>
              <a:t>lvel</a:t>
            </a:r>
            <a:endParaRPr lang="en-US" dirty="0"/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908A287-2AA8-4033-82B8-1C960F62A2A8}"/>
              </a:ext>
            </a:extLst>
          </p:cNvPr>
          <p:cNvSpPr/>
          <p:nvPr userDrawn="1"/>
        </p:nvSpPr>
        <p:spPr>
          <a:xfrm>
            <a:off x="3426878" y="2840491"/>
            <a:ext cx="2532049" cy="304903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E7FCA96D-EC4A-4FF8-B44B-AFD6F97190EC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621567" y="3323303"/>
            <a:ext cx="2108671" cy="2329202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l"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3EC4516-F5C6-4436-A033-B9F32B8AFA65}"/>
              </a:ext>
            </a:extLst>
          </p:cNvPr>
          <p:cNvSpPr/>
          <p:nvPr userDrawn="1"/>
        </p:nvSpPr>
        <p:spPr>
          <a:xfrm>
            <a:off x="6109563" y="2840491"/>
            <a:ext cx="2532049" cy="304903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90A17DFF-D853-4561-B1E4-D0894C0E30A5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07120" y="3323303"/>
            <a:ext cx="2108671" cy="2329202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l"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4ABD017-16F8-430C-B74C-3CDE477E76DA}"/>
              </a:ext>
            </a:extLst>
          </p:cNvPr>
          <p:cNvSpPr/>
          <p:nvPr userDrawn="1"/>
        </p:nvSpPr>
        <p:spPr>
          <a:xfrm>
            <a:off x="8792248" y="2851048"/>
            <a:ext cx="2532049" cy="304903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A2F80CCF-5B6B-41B2-A52B-5EC6284CA2D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001781" y="3323302"/>
            <a:ext cx="2108671" cy="2340442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l"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D77A91BA-D84E-4296-A1AA-ED3366BD880B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953726" y="3008671"/>
            <a:ext cx="2108671" cy="285135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accent5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C9FBF5A7-9DA9-4FA6-9790-09E5A981C4A7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621567" y="3008671"/>
            <a:ext cx="2108671" cy="285135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accent5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EFA5F875-1F7F-4634-B8F8-5A81DFDF9D9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302350" y="3008671"/>
            <a:ext cx="2108671" cy="285135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accent5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F77E1457-59D5-44F9-9B0E-22911A427D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01781" y="3008671"/>
            <a:ext cx="2108671" cy="285135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accent5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18691963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1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211BD83-C7AC-483B-B986-D188B970B5C6}"/>
              </a:ext>
            </a:extLst>
          </p:cNvPr>
          <p:cNvSpPr/>
          <p:nvPr userDrawn="1"/>
        </p:nvSpPr>
        <p:spPr>
          <a:xfrm>
            <a:off x="744194" y="3411020"/>
            <a:ext cx="2449200" cy="229313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53726" y="3842536"/>
            <a:ext cx="2039675" cy="16683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313FD5E-6F41-41D9-A887-8A5D83F99F59}"/>
              </a:ext>
            </a:extLst>
          </p:cNvPr>
          <p:cNvSpPr/>
          <p:nvPr userDrawn="1"/>
        </p:nvSpPr>
        <p:spPr>
          <a:xfrm>
            <a:off x="3426879" y="3411020"/>
            <a:ext cx="2449200" cy="229313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B9B15EFD-202A-4D93-B451-4075A497929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621567" y="3842535"/>
            <a:ext cx="2039675" cy="166836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026BBED-286C-4F22-9ADB-9F3F0248D5DE}"/>
              </a:ext>
            </a:extLst>
          </p:cNvPr>
          <p:cNvSpPr/>
          <p:nvPr userDrawn="1"/>
        </p:nvSpPr>
        <p:spPr>
          <a:xfrm>
            <a:off x="6109564" y="3411020"/>
            <a:ext cx="2449200" cy="229313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99ED039B-E90C-4759-8A3A-27CDA513FD0D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07120" y="3842535"/>
            <a:ext cx="2039675" cy="166836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FEFD930E-49AE-4B85-9258-40BB0D132C41}"/>
              </a:ext>
            </a:extLst>
          </p:cNvPr>
          <p:cNvSpPr/>
          <p:nvPr userDrawn="1"/>
        </p:nvSpPr>
        <p:spPr>
          <a:xfrm>
            <a:off x="8792249" y="3421577"/>
            <a:ext cx="2449200" cy="229313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AABA5B78-B9B7-49BF-B36D-67860A8C7994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001781" y="3845041"/>
            <a:ext cx="2039675" cy="167641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FFF6447F-DE40-4411-9C5C-3EE83D74506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953726" y="3524810"/>
            <a:ext cx="2039675" cy="285135"/>
          </a:xfrm>
        </p:spPr>
        <p:txBody>
          <a:bodyPr/>
          <a:lstStyle>
            <a:lvl1pPr marL="0" indent="0">
              <a:buNone/>
              <a:defRPr b="1">
                <a:solidFill>
                  <a:schemeClr val="accent5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325F707A-453A-405A-B69F-582C1B680AAE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621567" y="3524810"/>
            <a:ext cx="2039675" cy="285135"/>
          </a:xfrm>
        </p:spPr>
        <p:txBody>
          <a:bodyPr/>
          <a:lstStyle>
            <a:lvl1pPr marL="0" indent="0">
              <a:buNone/>
              <a:defRPr b="1">
                <a:solidFill>
                  <a:schemeClr val="accent5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DD6443A1-67B2-46D1-AD52-B94432627C2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302350" y="3524810"/>
            <a:ext cx="2039675" cy="285135"/>
          </a:xfrm>
        </p:spPr>
        <p:txBody>
          <a:bodyPr/>
          <a:lstStyle>
            <a:lvl1pPr marL="0" indent="0">
              <a:buNone/>
              <a:defRPr b="1">
                <a:solidFill>
                  <a:schemeClr val="accent5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0B3BEA35-B8B7-49D3-8FE3-616F260332F1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01781" y="3524810"/>
            <a:ext cx="2039675" cy="285135"/>
          </a:xfrm>
        </p:spPr>
        <p:txBody>
          <a:bodyPr/>
          <a:lstStyle>
            <a:lvl1pPr marL="0" indent="0">
              <a:buNone/>
              <a:defRPr b="1">
                <a:solidFill>
                  <a:schemeClr val="accent5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5292872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1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6B46E28-9E10-4221-8D6F-C7341C7DDE33}"/>
              </a:ext>
            </a:extLst>
          </p:cNvPr>
          <p:cNvSpPr/>
          <p:nvPr userDrawn="1"/>
        </p:nvSpPr>
        <p:spPr>
          <a:xfrm>
            <a:off x="744193" y="2840491"/>
            <a:ext cx="2532049" cy="304903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D31D5402-15DA-4057-99BC-39B935E98CA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53726" y="3323303"/>
            <a:ext cx="2108671" cy="2329201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l"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</a:t>
            </a:r>
            <a:r>
              <a:rPr lang="en-US" dirty="0" err="1"/>
              <a:t>stylese</a:t>
            </a:r>
            <a:endParaRPr lang="en-US" dirty="0"/>
          </a:p>
          <a:p>
            <a:pPr lvl="1"/>
            <a:r>
              <a:rPr lang="en-US" dirty="0"/>
              <a:t>Second </a:t>
            </a:r>
            <a:r>
              <a:rPr lang="en-US" dirty="0" err="1"/>
              <a:t>lvel</a:t>
            </a:r>
            <a:endParaRPr lang="en-US" dirty="0"/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3B5358A-3F9C-40BF-83D5-8E27CDDDBAAF}"/>
              </a:ext>
            </a:extLst>
          </p:cNvPr>
          <p:cNvSpPr/>
          <p:nvPr userDrawn="1"/>
        </p:nvSpPr>
        <p:spPr>
          <a:xfrm>
            <a:off x="3426878" y="2840491"/>
            <a:ext cx="2532049" cy="304903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773271E7-7C8B-4E09-BDE7-BDF3E0BE782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621567" y="3323303"/>
            <a:ext cx="2108671" cy="2329202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l"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421F4E2-C961-4B9E-9612-3B56372C4936}"/>
              </a:ext>
            </a:extLst>
          </p:cNvPr>
          <p:cNvSpPr/>
          <p:nvPr userDrawn="1"/>
        </p:nvSpPr>
        <p:spPr>
          <a:xfrm>
            <a:off x="6109563" y="2840491"/>
            <a:ext cx="2532049" cy="304903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433EF9DC-F22F-44F6-AD10-C181A968E58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07120" y="3323303"/>
            <a:ext cx="2108671" cy="2329202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l"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06B5FFA-9831-4CB3-BCF7-73DD15F9C6D6}"/>
              </a:ext>
            </a:extLst>
          </p:cNvPr>
          <p:cNvSpPr/>
          <p:nvPr userDrawn="1"/>
        </p:nvSpPr>
        <p:spPr>
          <a:xfrm>
            <a:off x="8792248" y="2851048"/>
            <a:ext cx="2532049" cy="304903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0A37B156-D74F-4968-B10C-4A3EB09D82FB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001781" y="3323302"/>
            <a:ext cx="2108671" cy="2340442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l"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8AF271F4-A8BC-4913-9856-91E9BAB0E671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953726" y="3008671"/>
            <a:ext cx="2108671" cy="285135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C5D53EC4-2198-4F78-9203-F43D56004CCC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621567" y="3008671"/>
            <a:ext cx="2108671" cy="285135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581A378B-78FF-4D1A-9807-620BD22CC17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302350" y="3008671"/>
            <a:ext cx="2108671" cy="285135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42ECF13F-9A9E-4B85-87D3-56503A45B60C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01781" y="3008671"/>
            <a:ext cx="2108671" cy="285135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5811167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1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6B46E28-9E10-4221-8D6F-C7341C7DDE33}"/>
              </a:ext>
            </a:extLst>
          </p:cNvPr>
          <p:cNvSpPr/>
          <p:nvPr userDrawn="1"/>
        </p:nvSpPr>
        <p:spPr>
          <a:xfrm>
            <a:off x="744193" y="2840491"/>
            <a:ext cx="2532049" cy="304903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D31D5402-15DA-4057-99BC-39B935E98CA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53726" y="3323303"/>
            <a:ext cx="2108671" cy="2329201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l"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</a:t>
            </a:r>
            <a:r>
              <a:rPr lang="en-US" dirty="0" err="1"/>
              <a:t>stylese</a:t>
            </a:r>
            <a:endParaRPr lang="en-US" dirty="0"/>
          </a:p>
          <a:p>
            <a:pPr lvl="1"/>
            <a:r>
              <a:rPr lang="en-US" dirty="0"/>
              <a:t>Second </a:t>
            </a:r>
            <a:r>
              <a:rPr lang="en-US" dirty="0" err="1"/>
              <a:t>lvel</a:t>
            </a:r>
            <a:endParaRPr lang="en-US" dirty="0"/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3B5358A-3F9C-40BF-83D5-8E27CDDDBAAF}"/>
              </a:ext>
            </a:extLst>
          </p:cNvPr>
          <p:cNvSpPr/>
          <p:nvPr userDrawn="1"/>
        </p:nvSpPr>
        <p:spPr>
          <a:xfrm>
            <a:off x="3426878" y="2840491"/>
            <a:ext cx="2532049" cy="304903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773271E7-7C8B-4E09-BDE7-BDF3E0BE782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621567" y="3323303"/>
            <a:ext cx="2108671" cy="2329202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l"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421F4E2-C961-4B9E-9612-3B56372C4936}"/>
              </a:ext>
            </a:extLst>
          </p:cNvPr>
          <p:cNvSpPr/>
          <p:nvPr userDrawn="1"/>
        </p:nvSpPr>
        <p:spPr>
          <a:xfrm>
            <a:off x="6109563" y="2840491"/>
            <a:ext cx="2532049" cy="304903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433EF9DC-F22F-44F6-AD10-C181A968E58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07120" y="3323303"/>
            <a:ext cx="2108671" cy="2329202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l"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06B5FFA-9831-4CB3-BCF7-73DD15F9C6D6}"/>
              </a:ext>
            </a:extLst>
          </p:cNvPr>
          <p:cNvSpPr/>
          <p:nvPr userDrawn="1"/>
        </p:nvSpPr>
        <p:spPr>
          <a:xfrm>
            <a:off x="8792248" y="2851048"/>
            <a:ext cx="2532049" cy="304903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0A37B156-D74F-4968-B10C-4A3EB09D82FB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001781" y="3323302"/>
            <a:ext cx="2108671" cy="2340442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l"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8AF271F4-A8BC-4913-9856-91E9BAB0E671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953726" y="3008671"/>
            <a:ext cx="2108671" cy="285135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C5D53EC4-2198-4F78-9203-F43D56004CCC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621567" y="3008671"/>
            <a:ext cx="2108671" cy="285135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581A378B-78FF-4D1A-9807-620BD22CC17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302350" y="3008671"/>
            <a:ext cx="2108671" cy="285135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42ECF13F-9A9E-4B85-87D3-56503A45B60C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01781" y="3008671"/>
            <a:ext cx="2108671" cy="285135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2658817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fld id="{F7DC6A67-F745-42FE-82D1-7A561047EC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DE4D834-5DC7-488A-AE34-404743A852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4194" y="3502869"/>
            <a:ext cx="10706788" cy="643389"/>
          </a:xfrm>
        </p:spPr>
        <p:txBody>
          <a:bodyPr anchor="t"/>
          <a:lstStyle>
            <a:lvl1pPr algn="ctr">
              <a:defRPr sz="1900" b="1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0CC34F9-A81C-4CE1-B660-3B51830074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44194" y="1358241"/>
            <a:ext cx="10706788" cy="1925409"/>
          </a:xfrm>
        </p:spPr>
        <p:txBody>
          <a:bodyPr anchor="b">
            <a:noAutofit/>
          </a:bodyPr>
          <a:lstStyle>
            <a:lvl1pPr marL="0" indent="0" algn="ctr">
              <a:buNone/>
              <a:defRPr sz="4800" cap="all" baseline="0">
                <a:solidFill>
                  <a:schemeClr val="accent2"/>
                </a:solidFill>
                <a:latin typeface="Arial Black" pitchFamily="34" charset="0"/>
              </a:defRPr>
            </a:lvl1pPr>
            <a:lvl2pPr marL="544479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8895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3343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4pPr>
            <a:lvl5pPr marL="217791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5pPr>
            <a:lvl6pPr marL="2722397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6pPr>
            <a:lvl7pPr marL="3266877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7pPr>
            <a:lvl8pPr marL="3811356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8pPr>
            <a:lvl9pPr marL="4355836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14600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6B46E28-9E10-4221-8D6F-C7341C7DDE33}"/>
              </a:ext>
            </a:extLst>
          </p:cNvPr>
          <p:cNvSpPr/>
          <p:nvPr userDrawn="1"/>
        </p:nvSpPr>
        <p:spPr>
          <a:xfrm>
            <a:off x="744193" y="2840491"/>
            <a:ext cx="2532049" cy="304903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D31D5402-15DA-4057-99BC-39B935E98CA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53726" y="3323303"/>
            <a:ext cx="2108671" cy="2329201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l"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</a:t>
            </a:r>
            <a:r>
              <a:rPr lang="en-US" dirty="0" err="1"/>
              <a:t>stylese</a:t>
            </a:r>
            <a:endParaRPr lang="en-US" dirty="0"/>
          </a:p>
          <a:p>
            <a:pPr lvl="1"/>
            <a:r>
              <a:rPr lang="en-US" dirty="0"/>
              <a:t>Second </a:t>
            </a:r>
            <a:r>
              <a:rPr lang="en-US" dirty="0" err="1"/>
              <a:t>lvel</a:t>
            </a:r>
            <a:endParaRPr lang="en-US" dirty="0"/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3B5358A-3F9C-40BF-83D5-8E27CDDDBAAF}"/>
              </a:ext>
            </a:extLst>
          </p:cNvPr>
          <p:cNvSpPr/>
          <p:nvPr userDrawn="1"/>
        </p:nvSpPr>
        <p:spPr>
          <a:xfrm>
            <a:off x="3426878" y="2840491"/>
            <a:ext cx="2532049" cy="304903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773271E7-7C8B-4E09-BDE7-BDF3E0BE782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621567" y="3323303"/>
            <a:ext cx="2108671" cy="2329202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l"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421F4E2-C961-4B9E-9612-3B56372C4936}"/>
              </a:ext>
            </a:extLst>
          </p:cNvPr>
          <p:cNvSpPr/>
          <p:nvPr userDrawn="1"/>
        </p:nvSpPr>
        <p:spPr>
          <a:xfrm>
            <a:off x="6109563" y="2840491"/>
            <a:ext cx="2532049" cy="304903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433EF9DC-F22F-44F6-AD10-C181A968E58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07120" y="3323303"/>
            <a:ext cx="2108671" cy="2329202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l"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06B5FFA-9831-4CB3-BCF7-73DD15F9C6D6}"/>
              </a:ext>
            </a:extLst>
          </p:cNvPr>
          <p:cNvSpPr/>
          <p:nvPr userDrawn="1"/>
        </p:nvSpPr>
        <p:spPr>
          <a:xfrm>
            <a:off x="8792248" y="2851048"/>
            <a:ext cx="2532049" cy="304903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0A37B156-D74F-4968-B10C-4A3EB09D82FB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001781" y="3323302"/>
            <a:ext cx="2108671" cy="2340442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l"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8AF271F4-A8BC-4913-9856-91E9BAB0E671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953726" y="3008671"/>
            <a:ext cx="2108671" cy="285135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C5D53EC4-2198-4F78-9203-F43D56004CCC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621567" y="3008671"/>
            <a:ext cx="2108671" cy="285135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581A378B-78FF-4D1A-9807-620BD22CC17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302350" y="3008671"/>
            <a:ext cx="2108671" cy="285135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42ECF13F-9A9E-4B85-87D3-56503A45B60C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01781" y="3008671"/>
            <a:ext cx="2108671" cy="285135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16952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1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6B46E28-9E10-4221-8D6F-C7341C7DDE33}"/>
              </a:ext>
            </a:extLst>
          </p:cNvPr>
          <p:cNvSpPr/>
          <p:nvPr userDrawn="1"/>
        </p:nvSpPr>
        <p:spPr>
          <a:xfrm>
            <a:off x="744193" y="2840491"/>
            <a:ext cx="2532049" cy="304903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D31D5402-15DA-4057-99BC-39B935E98CA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53726" y="3323303"/>
            <a:ext cx="2108671" cy="2329201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l"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</a:t>
            </a:r>
            <a:r>
              <a:rPr lang="en-US" dirty="0" err="1"/>
              <a:t>stylese</a:t>
            </a:r>
            <a:endParaRPr lang="en-US" dirty="0"/>
          </a:p>
          <a:p>
            <a:pPr lvl="1"/>
            <a:r>
              <a:rPr lang="en-US" dirty="0"/>
              <a:t>Second </a:t>
            </a:r>
            <a:r>
              <a:rPr lang="en-US" dirty="0" err="1"/>
              <a:t>lvel</a:t>
            </a:r>
            <a:endParaRPr lang="en-US" dirty="0"/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3B5358A-3F9C-40BF-83D5-8E27CDDDBAAF}"/>
              </a:ext>
            </a:extLst>
          </p:cNvPr>
          <p:cNvSpPr/>
          <p:nvPr userDrawn="1"/>
        </p:nvSpPr>
        <p:spPr>
          <a:xfrm>
            <a:off x="3426878" y="2840491"/>
            <a:ext cx="2532049" cy="304903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773271E7-7C8B-4E09-BDE7-BDF3E0BE782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621567" y="3323303"/>
            <a:ext cx="2108671" cy="2329202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l"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421F4E2-C961-4B9E-9612-3B56372C4936}"/>
              </a:ext>
            </a:extLst>
          </p:cNvPr>
          <p:cNvSpPr/>
          <p:nvPr userDrawn="1"/>
        </p:nvSpPr>
        <p:spPr>
          <a:xfrm>
            <a:off x="6109563" y="2840491"/>
            <a:ext cx="2532049" cy="304903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433EF9DC-F22F-44F6-AD10-C181A968E58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07120" y="3323303"/>
            <a:ext cx="2108671" cy="2329202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l"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06B5FFA-9831-4CB3-BCF7-73DD15F9C6D6}"/>
              </a:ext>
            </a:extLst>
          </p:cNvPr>
          <p:cNvSpPr/>
          <p:nvPr userDrawn="1"/>
        </p:nvSpPr>
        <p:spPr>
          <a:xfrm>
            <a:off x="8792248" y="2851048"/>
            <a:ext cx="2532049" cy="304903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0A37B156-D74F-4968-B10C-4A3EB09D82FB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001781" y="3323302"/>
            <a:ext cx="2108671" cy="2340442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l"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8AF271F4-A8BC-4913-9856-91E9BAB0E671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953726" y="3008671"/>
            <a:ext cx="2108671" cy="285135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C5D53EC4-2198-4F78-9203-F43D56004CCC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621567" y="3008671"/>
            <a:ext cx="2108671" cy="285135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581A378B-78FF-4D1A-9807-620BD22CC17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302350" y="3008671"/>
            <a:ext cx="2108671" cy="285135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42ECF13F-9A9E-4B85-87D3-56503A45B60C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01781" y="3008671"/>
            <a:ext cx="2108671" cy="285135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30216739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1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44194" y="1188825"/>
            <a:ext cx="10706788" cy="432300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6B46E28-9E10-4221-8D6F-C7341C7DDE33}"/>
              </a:ext>
            </a:extLst>
          </p:cNvPr>
          <p:cNvSpPr/>
          <p:nvPr userDrawn="1"/>
        </p:nvSpPr>
        <p:spPr>
          <a:xfrm>
            <a:off x="744193" y="2840491"/>
            <a:ext cx="2532049" cy="304903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D31D5402-15DA-4057-99BC-39B935E98CA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53726" y="3323303"/>
            <a:ext cx="2108671" cy="2329201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l"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</a:t>
            </a:r>
            <a:r>
              <a:rPr lang="en-US" dirty="0" err="1"/>
              <a:t>stylese</a:t>
            </a:r>
            <a:endParaRPr lang="en-US" dirty="0"/>
          </a:p>
          <a:p>
            <a:pPr lvl="1"/>
            <a:r>
              <a:rPr lang="en-US" dirty="0"/>
              <a:t>Second </a:t>
            </a:r>
            <a:r>
              <a:rPr lang="en-US" dirty="0" err="1"/>
              <a:t>lvel</a:t>
            </a:r>
            <a:endParaRPr lang="en-US" dirty="0"/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3B5358A-3F9C-40BF-83D5-8E27CDDDBAAF}"/>
              </a:ext>
            </a:extLst>
          </p:cNvPr>
          <p:cNvSpPr/>
          <p:nvPr userDrawn="1"/>
        </p:nvSpPr>
        <p:spPr>
          <a:xfrm>
            <a:off x="3426878" y="2840491"/>
            <a:ext cx="2532049" cy="304903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773271E7-7C8B-4E09-BDE7-BDF3E0BE782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621567" y="3323303"/>
            <a:ext cx="2108671" cy="2329202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l"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421F4E2-C961-4B9E-9612-3B56372C4936}"/>
              </a:ext>
            </a:extLst>
          </p:cNvPr>
          <p:cNvSpPr/>
          <p:nvPr userDrawn="1"/>
        </p:nvSpPr>
        <p:spPr>
          <a:xfrm>
            <a:off x="6109563" y="2840491"/>
            <a:ext cx="2532049" cy="304903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433EF9DC-F22F-44F6-AD10-C181A968E58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07120" y="3323303"/>
            <a:ext cx="2108671" cy="2329202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l"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06B5FFA-9831-4CB3-BCF7-73DD15F9C6D6}"/>
              </a:ext>
            </a:extLst>
          </p:cNvPr>
          <p:cNvSpPr/>
          <p:nvPr userDrawn="1"/>
        </p:nvSpPr>
        <p:spPr>
          <a:xfrm>
            <a:off x="8792248" y="2851048"/>
            <a:ext cx="2532049" cy="304903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0A37B156-D74F-4968-B10C-4A3EB09D82FB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001781" y="3323302"/>
            <a:ext cx="2108671" cy="2340442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l"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8AF271F4-A8BC-4913-9856-91E9BAB0E671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953726" y="3008671"/>
            <a:ext cx="2108671" cy="285135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C5D53EC4-2198-4F78-9203-F43D56004CCC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621567" y="3008671"/>
            <a:ext cx="2108671" cy="285135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581A378B-78FF-4D1A-9807-620BD22CC17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302350" y="3008671"/>
            <a:ext cx="2108671" cy="285135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42ECF13F-9A9E-4B85-87D3-56503A45B60C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01781" y="3008671"/>
            <a:ext cx="2108671" cy="285135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41922557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1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68669" y="2243491"/>
            <a:ext cx="8882313" cy="3475495"/>
          </a:xfrm>
        </p:spPr>
        <p:txBody>
          <a:bodyPr>
            <a:normAutofit/>
          </a:bodyPr>
          <a:lstStyle>
            <a:lvl1pPr>
              <a:buNone/>
              <a:defRPr sz="2400"/>
            </a:lvl1pPr>
            <a:lvl2pPr>
              <a:buNone/>
              <a:defRPr sz="2400"/>
            </a:lvl2pPr>
            <a:lvl3pPr>
              <a:buNone/>
              <a:defRPr sz="2400"/>
            </a:lvl3pPr>
            <a:lvl4pPr>
              <a:buNone/>
              <a:defRPr sz="2400"/>
            </a:lvl4pPr>
            <a:lvl5pPr>
              <a:buNone/>
              <a:defRPr sz="2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537244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heme" Target="../theme/theme1.xml"/><Relationship Id="rId55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7.xml"/><Relationship Id="rId26" Type="http://schemas.openxmlformats.org/officeDocument/2006/relationships/slideLayout" Target="../slideLayouts/slideLayout75.xml"/><Relationship Id="rId39" Type="http://schemas.openxmlformats.org/officeDocument/2006/relationships/slideLayout" Target="../slideLayouts/slideLayout88.xml"/><Relationship Id="rId21" Type="http://schemas.openxmlformats.org/officeDocument/2006/relationships/slideLayout" Target="../slideLayouts/slideLayout70.xml"/><Relationship Id="rId34" Type="http://schemas.openxmlformats.org/officeDocument/2006/relationships/slideLayout" Target="../slideLayouts/slideLayout83.xml"/><Relationship Id="rId42" Type="http://schemas.openxmlformats.org/officeDocument/2006/relationships/slideLayout" Target="../slideLayouts/slideLayout91.xml"/><Relationship Id="rId47" Type="http://schemas.openxmlformats.org/officeDocument/2006/relationships/tags" Target="../tags/tag5.xml"/><Relationship Id="rId50" Type="http://schemas.openxmlformats.org/officeDocument/2006/relationships/image" Target="../media/image3.png"/><Relationship Id="rId7" Type="http://schemas.openxmlformats.org/officeDocument/2006/relationships/slideLayout" Target="../slideLayouts/slideLayout56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9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60.xml"/><Relationship Id="rId24" Type="http://schemas.openxmlformats.org/officeDocument/2006/relationships/slideLayout" Target="../slideLayouts/slideLayout73.xml"/><Relationship Id="rId32" Type="http://schemas.openxmlformats.org/officeDocument/2006/relationships/slideLayout" Target="../slideLayouts/slideLayout81.xml"/><Relationship Id="rId37" Type="http://schemas.openxmlformats.org/officeDocument/2006/relationships/slideLayout" Target="../slideLayouts/slideLayout86.xml"/><Relationship Id="rId40" Type="http://schemas.openxmlformats.org/officeDocument/2006/relationships/slideLayout" Target="../slideLayouts/slideLayout89.xml"/><Relationship Id="rId45" Type="http://schemas.openxmlformats.org/officeDocument/2006/relationships/theme" Target="../theme/theme2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23" Type="http://schemas.openxmlformats.org/officeDocument/2006/relationships/slideLayout" Target="../slideLayouts/slideLayout72.xml"/><Relationship Id="rId28" Type="http://schemas.openxmlformats.org/officeDocument/2006/relationships/slideLayout" Target="../slideLayouts/slideLayout77.xml"/><Relationship Id="rId36" Type="http://schemas.openxmlformats.org/officeDocument/2006/relationships/slideLayout" Target="../slideLayouts/slideLayout85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68.xml"/><Relationship Id="rId31" Type="http://schemas.openxmlformats.org/officeDocument/2006/relationships/slideLayout" Target="../slideLayouts/slideLayout80.xml"/><Relationship Id="rId44" Type="http://schemas.openxmlformats.org/officeDocument/2006/relationships/slideLayout" Target="../slideLayouts/slideLayout93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slideLayout" Target="../slideLayouts/slideLayout71.xml"/><Relationship Id="rId27" Type="http://schemas.openxmlformats.org/officeDocument/2006/relationships/slideLayout" Target="../slideLayouts/slideLayout76.xml"/><Relationship Id="rId30" Type="http://schemas.openxmlformats.org/officeDocument/2006/relationships/slideLayout" Target="../slideLayouts/slideLayout79.xml"/><Relationship Id="rId35" Type="http://schemas.openxmlformats.org/officeDocument/2006/relationships/slideLayout" Target="../slideLayouts/slideLayout84.xml"/><Relationship Id="rId43" Type="http://schemas.openxmlformats.org/officeDocument/2006/relationships/slideLayout" Target="../slideLayouts/slideLayout92.xml"/><Relationship Id="rId48" Type="http://schemas.openxmlformats.org/officeDocument/2006/relationships/oleObject" Target="../embeddings/oleObject2.bin"/><Relationship Id="rId8" Type="http://schemas.openxmlformats.org/officeDocument/2006/relationships/slideLayout" Target="../slideLayouts/slideLayout57.xml"/><Relationship Id="rId3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5" Type="http://schemas.openxmlformats.org/officeDocument/2006/relationships/slideLayout" Target="../slideLayouts/slideLayout74.xml"/><Relationship Id="rId33" Type="http://schemas.openxmlformats.org/officeDocument/2006/relationships/slideLayout" Target="../slideLayouts/slideLayout82.xml"/><Relationship Id="rId38" Type="http://schemas.openxmlformats.org/officeDocument/2006/relationships/slideLayout" Target="../slideLayouts/slideLayout87.xml"/><Relationship Id="rId46" Type="http://schemas.openxmlformats.org/officeDocument/2006/relationships/tags" Target="../tags/tag4.xml"/><Relationship Id="rId20" Type="http://schemas.openxmlformats.org/officeDocument/2006/relationships/slideLayout" Target="../slideLayouts/slideLayout69.xml"/><Relationship Id="rId41" Type="http://schemas.openxmlformats.org/officeDocument/2006/relationships/slideLayout" Target="../slideLayouts/slideLayout90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C7D919E-39CA-46CA-8D90-0ACA892CDB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1"/>
            </p:custDataLst>
            <p:extLst>
              <p:ext uri="{D42A27DB-BD31-4B8C-83A1-F6EECF244321}">
                <p14:modId xmlns:p14="http://schemas.microsoft.com/office/powerpoint/2010/main" val="3097210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3" imgW="395" imgH="396" progId="TCLayout.ActiveDocument.1">
                  <p:embed/>
                </p:oleObj>
              </mc:Choice>
              <mc:Fallback>
                <p:oleObj name="think-cell Slide" r:id="rId53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C7D919E-39CA-46CA-8D90-0ACA892CDB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B841B56-C5B0-40E4-8075-CD72EEA03562}"/>
              </a:ext>
            </a:extLst>
          </p:cNvPr>
          <p:cNvSpPr/>
          <p:nvPr userDrawn="1">
            <p:custDataLst>
              <p:tags r:id="rId5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BFBC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04000" y="6323090"/>
            <a:ext cx="558930" cy="180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rgbClr val="A7A299"/>
                </a:solidFill>
              </a:defRPr>
            </a:lvl1pPr>
          </a:lstStyle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4194" y="1693177"/>
            <a:ext cx="10706788" cy="402580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7" descr="färg SAS_L1_B3_RGB_LOCK2.png"/>
          <p:cNvPicPr>
            <a:picLocks noChangeAspect="1"/>
          </p:cNvPicPr>
          <p:nvPr userDrawn="1"/>
        </p:nvPicPr>
        <p:blipFill>
          <a:blip r:embed="rId5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4000" y="6264000"/>
            <a:ext cx="1981204" cy="350521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759" r:id="rId3"/>
    <p:sldLayoutId id="2147483661" r:id="rId4"/>
    <p:sldLayoutId id="2147483654" r:id="rId5"/>
    <p:sldLayoutId id="2147483660" r:id="rId6"/>
    <p:sldLayoutId id="2147483651" r:id="rId7"/>
    <p:sldLayoutId id="2147483687" r:id="rId8"/>
    <p:sldLayoutId id="2147483680" r:id="rId9"/>
    <p:sldLayoutId id="2147483688" r:id="rId10"/>
    <p:sldLayoutId id="2147483681" r:id="rId11"/>
    <p:sldLayoutId id="2147483682" r:id="rId12"/>
    <p:sldLayoutId id="2147483726" r:id="rId13"/>
    <p:sldLayoutId id="2147483724" r:id="rId14"/>
    <p:sldLayoutId id="2147483662" r:id="rId15"/>
    <p:sldLayoutId id="2147483671" r:id="rId16"/>
    <p:sldLayoutId id="2147483670" r:id="rId17"/>
    <p:sldLayoutId id="2147483667" r:id="rId18"/>
    <p:sldLayoutId id="2147483663" r:id="rId19"/>
    <p:sldLayoutId id="2147483664" r:id="rId20"/>
    <p:sldLayoutId id="2147483794" r:id="rId21"/>
    <p:sldLayoutId id="2147483669" r:id="rId22"/>
    <p:sldLayoutId id="2147483666" r:id="rId23"/>
    <p:sldLayoutId id="2147483672" r:id="rId24"/>
    <p:sldLayoutId id="2147483678" r:id="rId25"/>
    <p:sldLayoutId id="2147483679" r:id="rId26"/>
    <p:sldLayoutId id="2147483773" r:id="rId27"/>
    <p:sldLayoutId id="2147483774" r:id="rId28"/>
    <p:sldLayoutId id="2147483775" r:id="rId29"/>
    <p:sldLayoutId id="2147483776" r:id="rId30"/>
    <p:sldLayoutId id="2147483777" r:id="rId31"/>
    <p:sldLayoutId id="2147483791" r:id="rId32"/>
    <p:sldLayoutId id="2147483778" r:id="rId33"/>
    <p:sldLayoutId id="2147483779" r:id="rId34"/>
    <p:sldLayoutId id="2147483780" r:id="rId35"/>
    <p:sldLayoutId id="2147483781" r:id="rId36"/>
    <p:sldLayoutId id="2147483676" r:id="rId37"/>
    <p:sldLayoutId id="2147483741" r:id="rId38"/>
    <p:sldLayoutId id="2147483742" r:id="rId39"/>
    <p:sldLayoutId id="2147483743" r:id="rId40"/>
    <p:sldLayoutId id="2147483744" r:id="rId41"/>
    <p:sldLayoutId id="2147483745" r:id="rId42"/>
    <p:sldLayoutId id="2147483746" r:id="rId43"/>
    <p:sldLayoutId id="2147483747" r:id="rId44"/>
    <p:sldLayoutId id="2147483748" r:id="rId45"/>
    <p:sldLayoutId id="2147483749" r:id="rId46"/>
    <p:sldLayoutId id="2147483665" r:id="rId47"/>
    <p:sldLayoutId id="2147483761" r:id="rId48"/>
    <p:sldLayoutId id="2147483760" r:id="rId49"/>
  </p:sldLayoutIdLst>
  <p:hf hdr="0" ftr="0" dt="0"/>
  <p:txStyles>
    <p:titleStyle>
      <a:lvl1pPr algn="l" defTabSz="1088959" rtl="0" eaLnBrk="1" latinLnBrk="0" hangingPunct="1">
        <a:spcBef>
          <a:spcPct val="0"/>
        </a:spcBef>
        <a:buNone/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171490" indent="-171490" algn="l" defTabSz="1088959" rtl="0" eaLnBrk="1" latinLnBrk="0" hangingPunct="1">
        <a:spcBef>
          <a:spcPts val="715"/>
        </a:spcBef>
        <a:buFont typeface="Arial" pitchFamily="34" charset="0"/>
        <a:buChar char="•"/>
        <a:defRPr sz="1900" kern="1200">
          <a:solidFill>
            <a:schemeClr val="accent4"/>
          </a:solidFill>
          <a:latin typeface="+mn-lt"/>
          <a:ea typeface="+mn-ea"/>
          <a:cs typeface="+mn-cs"/>
        </a:defRPr>
      </a:lvl1pPr>
      <a:lvl2pPr marL="427265" indent="-171490" algn="l" defTabSz="1088959" rtl="0" eaLnBrk="1" latinLnBrk="0" hangingPunct="1">
        <a:spcBef>
          <a:spcPts val="357"/>
        </a:spcBef>
        <a:buFont typeface="Arial" pitchFamily="34" charset="0"/>
        <a:buChar char="–"/>
        <a:defRPr sz="1900" kern="1200">
          <a:solidFill>
            <a:schemeClr val="accent4"/>
          </a:solidFill>
          <a:latin typeface="+mn-lt"/>
          <a:ea typeface="+mn-ea"/>
          <a:cs typeface="+mn-cs"/>
        </a:defRPr>
      </a:lvl2pPr>
      <a:lvl3pPr marL="642788" indent="-215523" algn="l" defTabSz="1088959" rtl="0" eaLnBrk="1" latinLnBrk="0" hangingPunct="1">
        <a:spcBef>
          <a:spcPts val="0"/>
        </a:spcBef>
        <a:buFont typeface="Arial" pitchFamily="34" charset="0"/>
        <a:buChar char="–"/>
        <a:defRPr sz="1900" kern="1200">
          <a:solidFill>
            <a:schemeClr val="accent4"/>
          </a:solidFill>
          <a:latin typeface="+mn-lt"/>
          <a:ea typeface="+mn-ea"/>
          <a:cs typeface="+mn-cs"/>
        </a:defRPr>
      </a:lvl3pPr>
      <a:lvl4pPr marL="852640" indent="-209852" algn="l" defTabSz="1088959" rtl="0" eaLnBrk="1" latinLnBrk="0" hangingPunct="1">
        <a:spcBef>
          <a:spcPts val="0"/>
        </a:spcBef>
        <a:buFont typeface="Arial" pitchFamily="34" charset="0"/>
        <a:buChar char="–"/>
        <a:defRPr sz="1900" kern="1200">
          <a:solidFill>
            <a:schemeClr val="accent4"/>
          </a:solidFill>
          <a:latin typeface="+mn-lt"/>
          <a:ea typeface="+mn-ea"/>
          <a:cs typeface="+mn-cs"/>
        </a:defRPr>
      </a:lvl4pPr>
      <a:lvl5pPr marL="1070053" indent="-217414" algn="l" defTabSz="1088959" rtl="0" eaLnBrk="1" latinLnBrk="0" hangingPunct="1">
        <a:spcBef>
          <a:spcPts val="0"/>
        </a:spcBef>
        <a:buFont typeface="Arial" pitchFamily="34" charset="0"/>
        <a:buChar char="–"/>
        <a:defRPr sz="1900" kern="1200">
          <a:solidFill>
            <a:schemeClr val="accent4"/>
          </a:solidFill>
          <a:latin typeface="+mn-lt"/>
          <a:ea typeface="+mn-ea"/>
          <a:cs typeface="+mn-cs"/>
        </a:defRPr>
      </a:lvl5pPr>
      <a:lvl6pPr marL="2994637" indent="-272240" algn="l" defTabSz="1088959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9117" indent="-272240" algn="l" defTabSz="1088959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3596" indent="-272240" algn="l" defTabSz="1088959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8076" indent="-272240" algn="l" defTabSz="1088959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479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959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3438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918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2397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6877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11356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5836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BA672C0-7063-4DDC-AB41-EF1E85244F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22213920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8" imgW="395" imgH="396" progId="TCLayout.ActiveDocument.1">
                  <p:embed/>
                </p:oleObj>
              </mc:Choice>
              <mc:Fallback>
                <p:oleObj name="think-cell Slide" r:id="rId48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BA672C0-7063-4DDC-AB41-EF1E85244F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1A2BC9B-3E13-4D19-AEE0-575BDE6F31C7}"/>
              </a:ext>
            </a:extLst>
          </p:cNvPr>
          <p:cNvSpPr/>
          <p:nvPr userDrawn="1">
            <p:custDataLst>
              <p:tags r:id="rId4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BFBC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5" name="Picture 9" descr="liten SA Logo.png">
            <a:extLst>
              <a:ext uri="{FF2B5EF4-FFF2-40B4-BE49-F238E27FC236}">
                <a16:creationId xmlns:a16="http://schemas.microsoft.com/office/drawing/2014/main" id="{8F9D74AE-C042-4956-9D4D-3E4EB603F8BA}"/>
              </a:ext>
            </a:extLst>
          </p:cNvPr>
          <p:cNvPicPr>
            <a:picLocks noChangeAspect="1"/>
          </p:cNvPicPr>
          <p:nvPr userDrawn="1"/>
        </p:nvPicPr>
        <p:blipFill>
          <a:blip r:embed="rId5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6621" y="6284235"/>
            <a:ext cx="1944000" cy="29206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04000" y="6323090"/>
            <a:ext cx="558930" cy="180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rgbClr val="A7A299"/>
                </a:solidFill>
              </a:defRPr>
            </a:lvl1pPr>
          </a:lstStyle>
          <a:p>
            <a:pPr algn="l"/>
            <a:fld id="{F7DC6A67-F745-42FE-82D1-7A561047EC3E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4194" y="1693177"/>
            <a:ext cx="10706788" cy="402580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44194" y="486338"/>
            <a:ext cx="10706788" cy="6124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4054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701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25" r:id="rId11"/>
    <p:sldLayoutId id="2147483702" r:id="rId12"/>
    <p:sldLayoutId id="2147483703" r:id="rId13"/>
    <p:sldLayoutId id="2147483704" r:id="rId14"/>
    <p:sldLayoutId id="2147483705" r:id="rId15"/>
    <p:sldLayoutId id="2147483706" r:id="rId16"/>
    <p:sldLayoutId id="2147483707" r:id="rId17"/>
    <p:sldLayoutId id="2147483708" r:id="rId18"/>
    <p:sldLayoutId id="2147483793" r:id="rId19"/>
    <p:sldLayoutId id="2147483709" r:id="rId20"/>
    <p:sldLayoutId id="2147483710" r:id="rId21"/>
    <p:sldLayoutId id="2147483711" r:id="rId22"/>
    <p:sldLayoutId id="2147483712" r:id="rId23"/>
    <p:sldLayoutId id="2147483782" r:id="rId24"/>
    <p:sldLayoutId id="2147483783" r:id="rId25"/>
    <p:sldLayoutId id="2147483784" r:id="rId26"/>
    <p:sldLayoutId id="2147483785" r:id="rId27"/>
    <p:sldLayoutId id="2147483786" r:id="rId28"/>
    <p:sldLayoutId id="2147483792" r:id="rId29"/>
    <p:sldLayoutId id="2147483787" r:id="rId30"/>
    <p:sldLayoutId id="2147483788" r:id="rId31"/>
    <p:sldLayoutId id="2147483789" r:id="rId32"/>
    <p:sldLayoutId id="2147483790" r:id="rId33"/>
    <p:sldLayoutId id="2147483713" r:id="rId34"/>
    <p:sldLayoutId id="2147483762" r:id="rId35"/>
    <p:sldLayoutId id="2147483763" r:id="rId36"/>
    <p:sldLayoutId id="2147483764" r:id="rId37"/>
    <p:sldLayoutId id="2147483765" r:id="rId38"/>
    <p:sldLayoutId id="2147483766" r:id="rId39"/>
    <p:sldLayoutId id="2147483767" r:id="rId40"/>
    <p:sldLayoutId id="2147483768" r:id="rId41"/>
    <p:sldLayoutId id="2147483769" r:id="rId42"/>
    <p:sldLayoutId id="2147483770" r:id="rId43"/>
    <p:sldLayoutId id="2147483723" r:id="rId44"/>
  </p:sldLayoutIdLst>
  <p:hf hdr="0" ftr="0" dt="0"/>
  <p:txStyles>
    <p:titleStyle>
      <a:lvl1pPr algn="l" defTabSz="1088959" rtl="0" eaLnBrk="1" latinLnBrk="0" hangingPunct="1">
        <a:spcBef>
          <a:spcPct val="0"/>
        </a:spcBef>
        <a:buNone/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171490" indent="-171490" algn="l" defTabSz="1088959" rtl="0" eaLnBrk="1" latinLnBrk="0" hangingPunct="1">
        <a:spcBef>
          <a:spcPts val="715"/>
        </a:spcBef>
        <a:buFont typeface="Arial" pitchFamily="34" charset="0"/>
        <a:buChar char="•"/>
        <a:defRPr sz="1900" kern="1200">
          <a:solidFill>
            <a:schemeClr val="accent4"/>
          </a:solidFill>
          <a:latin typeface="+mn-lt"/>
          <a:ea typeface="+mn-ea"/>
          <a:cs typeface="+mn-cs"/>
        </a:defRPr>
      </a:lvl1pPr>
      <a:lvl2pPr marL="427265" indent="-171490" algn="l" defTabSz="1088959" rtl="0" eaLnBrk="1" latinLnBrk="0" hangingPunct="1">
        <a:spcBef>
          <a:spcPts val="357"/>
        </a:spcBef>
        <a:buFont typeface="Arial" pitchFamily="34" charset="0"/>
        <a:buChar char="–"/>
        <a:defRPr sz="1900" kern="1200">
          <a:solidFill>
            <a:schemeClr val="accent4"/>
          </a:solidFill>
          <a:latin typeface="+mn-lt"/>
          <a:ea typeface="+mn-ea"/>
          <a:cs typeface="+mn-cs"/>
        </a:defRPr>
      </a:lvl2pPr>
      <a:lvl3pPr marL="642788" indent="-215523" algn="l" defTabSz="1088959" rtl="0" eaLnBrk="1" latinLnBrk="0" hangingPunct="1">
        <a:spcBef>
          <a:spcPts val="0"/>
        </a:spcBef>
        <a:buFont typeface="Arial" pitchFamily="34" charset="0"/>
        <a:buChar char="–"/>
        <a:defRPr sz="1900" kern="1200">
          <a:solidFill>
            <a:schemeClr val="accent4"/>
          </a:solidFill>
          <a:latin typeface="+mn-lt"/>
          <a:ea typeface="+mn-ea"/>
          <a:cs typeface="+mn-cs"/>
        </a:defRPr>
      </a:lvl3pPr>
      <a:lvl4pPr marL="852640" indent="-209852" algn="l" defTabSz="1088959" rtl="0" eaLnBrk="1" latinLnBrk="0" hangingPunct="1">
        <a:spcBef>
          <a:spcPts val="0"/>
        </a:spcBef>
        <a:buFont typeface="Arial" pitchFamily="34" charset="0"/>
        <a:buChar char="–"/>
        <a:defRPr sz="1900" kern="1200">
          <a:solidFill>
            <a:schemeClr val="accent4"/>
          </a:solidFill>
          <a:latin typeface="+mn-lt"/>
          <a:ea typeface="+mn-ea"/>
          <a:cs typeface="+mn-cs"/>
        </a:defRPr>
      </a:lvl4pPr>
      <a:lvl5pPr marL="1070053" indent="-217414" algn="l" defTabSz="1088959" rtl="0" eaLnBrk="1" latinLnBrk="0" hangingPunct="1">
        <a:spcBef>
          <a:spcPts val="0"/>
        </a:spcBef>
        <a:buFont typeface="Arial" pitchFamily="34" charset="0"/>
        <a:buChar char="–"/>
        <a:defRPr sz="1900" kern="1200">
          <a:solidFill>
            <a:schemeClr val="accent4"/>
          </a:solidFill>
          <a:latin typeface="+mn-lt"/>
          <a:ea typeface="+mn-ea"/>
          <a:cs typeface="+mn-cs"/>
        </a:defRPr>
      </a:lvl5pPr>
      <a:lvl6pPr marL="2994637" indent="-272240" algn="l" defTabSz="1088959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9117" indent="-272240" algn="l" defTabSz="1088959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3596" indent="-272240" algn="l" defTabSz="1088959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8076" indent="-272240" algn="l" defTabSz="1088959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479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959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3438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918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2397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6877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11356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5836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4222FA4-6E23-4969-BE72-9C2B5BB87C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4222FA4-6E23-4969-BE72-9C2B5BB87C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07237D57-92EF-44BF-8E9F-5CDB4D37CFC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BFBC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9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E68A9B7-43D1-45F5-AE41-A0E850C433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1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5B61F668-08B0-43E1-B2BC-413C1C1E5C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1224" y="3545752"/>
            <a:ext cx="10706788" cy="643389"/>
          </a:xfrm>
        </p:spPr>
        <p:txBody>
          <a:bodyPr/>
          <a:lstStyle/>
          <a:p>
            <a:r>
              <a:rPr lang="en-US" dirty="0"/>
              <a:t>Active rules</a:t>
            </a:r>
            <a:br>
              <a:rPr lang="en-US" dirty="0"/>
            </a:br>
            <a:r>
              <a:rPr lang="en-US" dirty="0"/>
              <a:t>Updated: 2021-08-18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25D9C5D-93DF-4B1D-864C-936A070BF05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ostpone rebooking details</a:t>
            </a:r>
          </a:p>
        </p:txBody>
      </p:sp>
    </p:spTree>
    <p:extLst>
      <p:ext uri="{BB962C8B-B14F-4D97-AF65-F5344CB8AC3E}">
        <p14:creationId xmlns:p14="http://schemas.microsoft.com/office/powerpoint/2010/main" val="15787068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E133522-6436-4D68-86E6-722388CF4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E133522-6436-4D68-86E6-722388CF4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5CBF655B-C727-48D0-BF48-248B8870A11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BFBC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40C8B1D-CE51-4638-A427-5CE0E6D2E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2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527B8E9-4B3A-4FF7-9F66-656BD2D14AC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6392" y="911101"/>
            <a:ext cx="10706788" cy="432300"/>
          </a:xfrm>
        </p:spPr>
        <p:txBody>
          <a:bodyPr/>
          <a:lstStyle/>
          <a:p>
            <a:r>
              <a:rPr lang="en-US" dirty="0"/>
              <a:t>Conditions for </a:t>
            </a:r>
            <a:r>
              <a:rPr lang="en-US" dirty="0">
                <a:solidFill>
                  <a:schemeClr val="accent1"/>
                </a:solidFill>
              </a:rPr>
              <a:t>original booking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2B6F17C-F2B8-438B-AF53-AE3517CF7C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booking for cancelled &amp; non cancelled flight – </a:t>
            </a:r>
            <a:r>
              <a:rPr lang="en-US" dirty="0">
                <a:solidFill>
                  <a:schemeClr val="accent1"/>
                </a:solidFill>
              </a:rPr>
              <a:t>Travel Agents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2D6A4D8E-90FC-4955-A07C-D2DB338B240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4069901"/>
              </p:ext>
            </p:extLst>
          </p:nvPr>
        </p:nvGraphicFramePr>
        <p:xfrm>
          <a:off x="726392" y="1209766"/>
          <a:ext cx="8030091" cy="5394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76697">
                  <a:extLst>
                    <a:ext uri="{9D8B030D-6E8A-4147-A177-3AD203B41FA5}">
                      <a16:colId xmlns:a16="http://schemas.microsoft.com/office/drawing/2014/main" val="181663089"/>
                    </a:ext>
                  </a:extLst>
                </a:gridCol>
                <a:gridCol w="2676697">
                  <a:extLst>
                    <a:ext uri="{9D8B030D-6E8A-4147-A177-3AD203B41FA5}">
                      <a16:colId xmlns:a16="http://schemas.microsoft.com/office/drawing/2014/main" val="1566155555"/>
                    </a:ext>
                  </a:extLst>
                </a:gridCol>
                <a:gridCol w="2676697">
                  <a:extLst>
                    <a:ext uri="{9D8B030D-6E8A-4147-A177-3AD203B41FA5}">
                      <a16:colId xmlns:a16="http://schemas.microsoft.com/office/drawing/2014/main" val="1220776995"/>
                    </a:ext>
                  </a:extLst>
                </a:gridCol>
              </a:tblGrid>
              <a:tr h="437663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ostpone rebooking Non-cancelled fligh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ostpone rebooking Cancelled fligh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6430016"/>
                  </a:ext>
                </a:extLst>
              </a:tr>
              <a:tr h="262598">
                <a:tc>
                  <a:txBody>
                    <a:bodyPr/>
                    <a:lstStyle/>
                    <a:p>
                      <a:r>
                        <a:rPr lang="en-US" sz="1200" dirty="0"/>
                        <a:t>Original issue d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21724527"/>
                  </a:ext>
                </a:extLst>
              </a:tr>
              <a:tr h="265959">
                <a:tc>
                  <a:txBody>
                    <a:bodyPr/>
                    <a:lstStyle/>
                    <a:p>
                      <a:r>
                        <a:rPr lang="en-US" sz="1200" dirty="0"/>
                        <a:t>Original travel d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Outbound on/after 05MAR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Outbound on/after 05MAR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8478613"/>
                  </a:ext>
                </a:extLst>
              </a:tr>
              <a:tr h="262598">
                <a:tc>
                  <a:txBody>
                    <a:bodyPr/>
                    <a:lstStyle/>
                    <a:p>
                      <a:r>
                        <a:rPr lang="en-US" sz="1200" dirty="0"/>
                        <a:t>Route are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200" dirty="0"/>
                        <a:t>All except Domestic (SE,NO, DK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200" dirty="0"/>
                        <a:t>Al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80359109"/>
                  </a:ext>
                </a:extLst>
              </a:tr>
              <a:tr h="437663">
                <a:tc>
                  <a:txBody>
                    <a:bodyPr/>
                    <a:lstStyle/>
                    <a:p>
                      <a:r>
                        <a:rPr lang="en-US" sz="1200" dirty="0"/>
                        <a:t>Other criteria'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Needs to be requested 72 hours before depar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01553402"/>
                  </a:ext>
                </a:extLst>
              </a:tr>
              <a:tr h="612728">
                <a:tc>
                  <a:txBody>
                    <a:bodyPr/>
                    <a:lstStyle/>
                    <a:p>
                      <a:r>
                        <a:rPr lang="en-US" sz="1200" dirty="0"/>
                        <a:t>Flight stat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o cancelled segments</a:t>
                      </a:r>
                    </a:p>
                    <a:p>
                      <a:r>
                        <a:rPr lang="en-US" sz="1200" dirty="0"/>
                        <a:t>No partly cancelled and rebooked segme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At least 1 segment cancelled</a:t>
                      </a:r>
                    </a:p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1289342"/>
                  </a:ext>
                </a:extLst>
              </a:tr>
              <a:tr h="437663">
                <a:tc>
                  <a:txBody>
                    <a:bodyPr/>
                    <a:lstStyle/>
                    <a:p>
                      <a:r>
                        <a:rPr lang="en-US" sz="1200" dirty="0"/>
                        <a:t>Tick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dirty="0"/>
                        <a:t>Valid for all tickets issued on 117 document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dirty="0"/>
                        <a:t>Valid for all tickets issued on 117 document 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7835170"/>
                  </a:ext>
                </a:extLst>
              </a:tr>
              <a:tr h="612728">
                <a:tc>
                  <a:txBody>
                    <a:bodyPr/>
                    <a:lstStyle/>
                    <a:p>
                      <a:r>
                        <a:rPr lang="en-US" sz="1200" dirty="0"/>
                        <a:t>O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200" dirty="0"/>
                        <a:t>Yes, if 117 document (!WF flight must be in conjunction with a SK fligh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Yes, if 117 document (!WF flight must be in conjunction with a SK flight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18755913"/>
                  </a:ext>
                </a:extLst>
              </a:tr>
              <a:tr h="787793">
                <a:tc>
                  <a:txBody>
                    <a:bodyPr/>
                    <a:lstStyle/>
                    <a:p>
                      <a:r>
                        <a:rPr lang="en-US" sz="1200" dirty="0"/>
                        <a:t>Exclud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Separate procedure for group bookings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Separate procedure for Bulk booking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Separate procedure for group bookings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Separate procedure for Bulk booking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7902354"/>
                  </a:ext>
                </a:extLst>
              </a:tr>
              <a:tr h="787793">
                <a:tc>
                  <a:txBody>
                    <a:bodyPr/>
                    <a:lstStyle/>
                    <a:p>
                      <a:r>
                        <a:rPr lang="en-US" sz="1200" dirty="0"/>
                        <a:t>Valu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Full value* of original ticket can be used for future travel. </a:t>
                      </a:r>
                    </a:p>
                    <a:p>
                      <a:r>
                        <a:rPr lang="en-US" sz="1200" dirty="0"/>
                        <a:t>*Excluding fees such as Name change, rebooking fee, ancillar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Full value* of original ticket can be used for future travel. </a:t>
                      </a:r>
                    </a:p>
                    <a:p>
                      <a:r>
                        <a:rPr lang="en-US" sz="1200" dirty="0"/>
                        <a:t>*Excluding fees such as Name change, rebooking fee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0202736"/>
                  </a:ext>
                </a:extLst>
              </a:tr>
              <a:tr h="262598">
                <a:tc>
                  <a:txBody>
                    <a:bodyPr/>
                    <a:lstStyle/>
                    <a:p>
                      <a:r>
                        <a:rPr lang="en-US" sz="1200" dirty="0"/>
                        <a:t>Partly used ticke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o, ordinary processes applie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o, ordinary refund process applies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1595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288907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E133522-6436-4D68-86E6-722388CF4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4949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E133522-6436-4D68-86E6-722388CF4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5CBF655B-C727-48D0-BF48-248B8870A11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BFBC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40C8B1D-CE51-4638-A427-5CE0E6D2E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F7DC6A67-F745-42FE-82D1-7A561047EC3E}" type="slidenum">
              <a:rPr lang="en-US" smtClean="0"/>
              <a:pPr algn="l"/>
              <a:t>3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527B8E9-4B3A-4FF7-9F66-656BD2D14AC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8188" y="892105"/>
            <a:ext cx="10706788" cy="432300"/>
          </a:xfrm>
        </p:spPr>
        <p:txBody>
          <a:bodyPr/>
          <a:lstStyle/>
          <a:p>
            <a:r>
              <a:rPr lang="en-US" dirty="0"/>
              <a:t>Conditions for </a:t>
            </a:r>
            <a:r>
              <a:rPr lang="en-US" dirty="0">
                <a:solidFill>
                  <a:schemeClr val="accent1"/>
                </a:solidFill>
              </a:rPr>
              <a:t>usag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2B6F17C-F2B8-438B-AF53-AE3517CF7C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booking for cancelled &amp; non cancelled flight – </a:t>
            </a:r>
            <a:r>
              <a:rPr lang="en-US" dirty="0">
                <a:solidFill>
                  <a:schemeClr val="accent1"/>
                </a:solidFill>
              </a:rPr>
              <a:t>Travel Agents</a:t>
            </a:r>
            <a:endParaRPr lang="en-US" dirty="0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2D6A4D8E-90FC-4955-A07C-D2DB338B240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8266144"/>
              </p:ext>
            </p:extLst>
          </p:nvPr>
        </p:nvGraphicFramePr>
        <p:xfrm>
          <a:off x="768995" y="1207829"/>
          <a:ext cx="8030091" cy="4815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76697">
                  <a:extLst>
                    <a:ext uri="{9D8B030D-6E8A-4147-A177-3AD203B41FA5}">
                      <a16:colId xmlns:a16="http://schemas.microsoft.com/office/drawing/2014/main" val="181663089"/>
                    </a:ext>
                  </a:extLst>
                </a:gridCol>
                <a:gridCol w="2676697">
                  <a:extLst>
                    <a:ext uri="{9D8B030D-6E8A-4147-A177-3AD203B41FA5}">
                      <a16:colId xmlns:a16="http://schemas.microsoft.com/office/drawing/2014/main" val="1566155555"/>
                    </a:ext>
                  </a:extLst>
                </a:gridCol>
                <a:gridCol w="2676697">
                  <a:extLst>
                    <a:ext uri="{9D8B030D-6E8A-4147-A177-3AD203B41FA5}">
                      <a16:colId xmlns:a16="http://schemas.microsoft.com/office/drawing/2014/main" val="1220776995"/>
                    </a:ext>
                  </a:extLst>
                </a:gridCol>
              </a:tblGrid>
              <a:tr h="239449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ostpone rebooking Non-cancelled fligh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ostpone rebooking Cancelled fligh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6430016"/>
                  </a:ext>
                </a:extLst>
              </a:tr>
              <a:tr h="239449">
                <a:tc>
                  <a:txBody>
                    <a:bodyPr/>
                    <a:lstStyle/>
                    <a:p>
                      <a:r>
                        <a:rPr lang="en-US" sz="1100" dirty="0"/>
                        <a:t>Rebooking ter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Original issue date before 31DEC20 : use postponed rebooking within 719 days</a:t>
                      </a:r>
                    </a:p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Original issue date after 01JAN21: use postponed rebooking within 12 month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Original issue date before 31DEC20: use postponed rebooking within 719 days</a:t>
                      </a:r>
                    </a:p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Original issue date after 01JAN21: use postponed rebooking within 12 month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21724527"/>
                  </a:ext>
                </a:extLst>
              </a:tr>
              <a:tr h="239449">
                <a:tc>
                  <a:txBody>
                    <a:bodyPr/>
                    <a:lstStyle/>
                    <a:p>
                      <a:r>
                        <a:rPr lang="en-US" sz="1100" dirty="0"/>
                        <a:t>New travel dates - out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8478613"/>
                  </a:ext>
                </a:extLst>
              </a:tr>
              <a:tr h="239449">
                <a:tc>
                  <a:txBody>
                    <a:bodyPr/>
                    <a:lstStyle/>
                    <a:p>
                      <a:r>
                        <a:rPr lang="en-US" sz="1100" dirty="0"/>
                        <a:t>New travel dates - in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01553402"/>
                  </a:ext>
                </a:extLst>
              </a:tr>
              <a:tr h="239449">
                <a:tc>
                  <a:txBody>
                    <a:bodyPr/>
                    <a:lstStyle/>
                    <a:p>
                      <a:r>
                        <a:rPr lang="en-US" sz="1100" dirty="0"/>
                        <a:t>Refundabl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Yes, after 1 year or when ticket expiries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1289342"/>
                  </a:ext>
                </a:extLst>
              </a:tr>
              <a:tr h="239449">
                <a:tc>
                  <a:txBody>
                    <a:bodyPr/>
                    <a:lstStyle/>
                    <a:p>
                      <a:r>
                        <a:rPr lang="en-US" sz="1100" dirty="0"/>
                        <a:t>Residual valu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100" dirty="0"/>
                        <a:t>Residual value is non refundabl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Residual value is refundab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7902354"/>
                  </a:ext>
                </a:extLst>
              </a:tr>
              <a:tr h="239449">
                <a:tc>
                  <a:txBody>
                    <a:bodyPr/>
                    <a:lstStyle/>
                    <a:p>
                      <a:r>
                        <a:rPr lang="en-US" sz="1100" dirty="0"/>
                        <a:t>Personal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N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0202736"/>
                  </a:ext>
                </a:extLst>
              </a:tr>
              <a:tr h="239449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EMD ancillary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EMD issued for ancillary services may be reused if Origin and destination is not changed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EMD issued for ancillary services may be reused if Origin and destination is not changed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159585"/>
                  </a:ext>
                </a:extLst>
              </a:tr>
              <a:tr h="239449">
                <a:tc>
                  <a:txBody>
                    <a:bodyPr/>
                    <a:lstStyle/>
                    <a:p>
                      <a:r>
                        <a:rPr lang="en-US" sz="1100" dirty="0"/>
                        <a:t>Route area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A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All, but if original booking is domestic it needs to be kept domesti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36145054"/>
                  </a:ext>
                </a:extLst>
              </a:tr>
              <a:tr h="239449">
                <a:tc>
                  <a:txBody>
                    <a:bodyPr/>
                    <a:lstStyle/>
                    <a:p>
                      <a:r>
                        <a:rPr lang="en-US" sz="1100" dirty="0"/>
                        <a:t>Change of O&amp;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Permitted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Permitted. But if original booking is domestic it needs to be kept domesti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86693315"/>
                  </a:ext>
                </a:extLst>
              </a:tr>
              <a:tr h="239449">
                <a:tc>
                  <a:txBody>
                    <a:bodyPr/>
                    <a:lstStyle/>
                    <a:p>
                      <a:r>
                        <a:rPr lang="en-US" sz="1100" dirty="0"/>
                        <a:t>Name chan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Permitted without char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Permitted without charg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5681079"/>
                  </a:ext>
                </a:extLst>
              </a:tr>
              <a:tr h="239449">
                <a:tc>
                  <a:txBody>
                    <a:bodyPr/>
                    <a:lstStyle/>
                    <a:p>
                      <a:r>
                        <a:rPr lang="en-US" sz="1100" dirty="0"/>
                        <a:t>Rebooking fe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No rebooking fee to be collected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0889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No rebooking fee to be collected </a:t>
                      </a:r>
                    </a:p>
                    <a:p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404680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093718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CFQGs.UDKxxOXOgTNAu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HACn7UWc4SAk5B74Wmv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HxhZ3KhBXRMDtufyg.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Y_Mpw_9ysawKduG8afk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CFQGs.UDKxxOXOgTNAug"/>
</p:tagLst>
</file>

<file path=ppt/theme/theme1.xml><?xml version="1.0" encoding="utf-8"?>
<a:theme xmlns:a="http://schemas.openxmlformats.org/drawingml/2006/main" name="SAS template">
  <a:themeElements>
    <a:clrScheme name="SAS">
      <a:dk1>
        <a:sysClr val="windowText" lastClr="000000"/>
      </a:dk1>
      <a:lt1>
        <a:srgbClr val="FFFFFF"/>
      </a:lt1>
      <a:dk2>
        <a:srgbClr val="A7A299"/>
      </a:dk2>
      <a:lt2>
        <a:srgbClr val="D5D4D1"/>
      </a:lt2>
      <a:accent1>
        <a:srgbClr val="0099FF"/>
      </a:accent1>
      <a:accent2>
        <a:srgbClr val="000099"/>
      </a:accent2>
      <a:accent3>
        <a:srgbClr val="0033CC"/>
      </a:accent3>
      <a:accent4>
        <a:srgbClr val="000066"/>
      </a:accent4>
      <a:accent5>
        <a:srgbClr val="CAA977"/>
      </a:accent5>
      <a:accent6>
        <a:srgbClr val="BFBCB5"/>
      </a:accent6>
      <a:hlink>
        <a:srgbClr val="000066"/>
      </a:hlink>
      <a:folHlink>
        <a:srgbClr val="CAA977"/>
      </a:folHlink>
    </a:clrScheme>
    <a:fontScheme name="SA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FBCB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A7A299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>
            <a:solidFill>
              <a:srgbClr val="000066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AS Template 16.9.pptx" id="{90E6DC23-941F-4541-932E-3B0548D998D5}" vid="{45D7D6EC-4E7E-49D8-9720-5A3765225DFD}"/>
    </a:ext>
  </a:extLst>
</a:theme>
</file>

<file path=ppt/theme/theme2.xml><?xml version="1.0" encoding="utf-8"?>
<a:theme xmlns:a="http://schemas.openxmlformats.org/drawingml/2006/main" name="SAS inverted">
  <a:themeElements>
    <a:clrScheme name="SAS">
      <a:dk1>
        <a:sysClr val="windowText" lastClr="000000"/>
      </a:dk1>
      <a:lt1>
        <a:srgbClr val="FFFFFF"/>
      </a:lt1>
      <a:dk2>
        <a:srgbClr val="A7A299"/>
      </a:dk2>
      <a:lt2>
        <a:srgbClr val="D5D4D1"/>
      </a:lt2>
      <a:accent1>
        <a:srgbClr val="0099FF"/>
      </a:accent1>
      <a:accent2>
        <a:srgbClr val="000099"/>
      </a:accent2>
      <a:accent3>
        <a:srgbClr val="0033CC"/>
      </a:accent3>
      <a:accent4>
        <a:srgbClr val="000066"/>
      </a:accent4>
      <a:accent5>
        <a:srgbClr val="CAA977"/>
      </a:accent5>
      <a:accent6>
        <a:srgbClr val="BFBCB5"/>
      </a:accent6>
      <a:hlink>
        <a:srgbClr val="000066"/>
      </a:hlink>
      <a:folHlink>
        <a:srgbClr val="CAA977"/>
      </a:folHlink>
    </a:clrScheme>
    <a:fontScheme name="SA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FBCB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A7A299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>
            <a:solidFill>
              <a:srgbClr val="000066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AS Template 16.9.pptx" id="{90E6DC23-941F-4541-932E-3B0548D998D5}" vid="{C7C67112-3F27-488B-9A29-BEF1D16E73DB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9025a7d9-338b-4dd2-a8f8-e45565f34fd1">4FEQMUP4XMCV-793435179-2405</_dlc_DocId>
    <_dlc_DocIdUrl xmlns="9025a7d9-338b-4dd2-a8f8-e45565f34fd1">
      <Url>https://scandinavianairlinessystem.sharepoint.com/sites/S00359/stonknew/pricing/_layouts/15/DocIdRedir.aspx?ID=4FEQMUP4XMCV-793435179-2405</Url>
      <Description>4FEQMUP4XMCV-793435179-2405</Description>
    </_dlc_DocIdUrl>
    <Project xmlns="893fc400-24e0-4d6c-84b1-6c72790adcde" xsi:nil="true"/>
    <Projekt xmlns="893fc400-24e0-4d6c-84b1-6c72790adcde" xsi:nil="true"/>
    <SubCategory xmlns="893fc400-24e0-4d6c-84b1-6c72790adcde" xsi:nil="true"/>
    <Project_x0020_owner xmlns="893fc400-24e0-4d6c-84b1-6c72790adcde">
      <UserInfo>
        <DisplayName/>
        <AccountId xsi:nil="true"/>
        <AccountType/>
      </UserInfo>
    </Project_x0020_owner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C5025A7373BD4429B8B8AFA6B70A3B0" ma:contentTypeVersion="26" ma:contentTypeDescription="Create a new document." ma:contentTypeScope="" ma:versionID="eac11480dac852afe7ebacc9fe6ead82">
  <xsd:schema xmlns:xsd="http://www.w3.org/2001/XMLSchema" xmlns:xs="http://www.w3.org/2001/XMLSchema" xmlns:p="http://schemas.microsoft.com/office/2006/metadata/properties" xmlns:ns2="893fc400-24e0-4d6c-84b1-6c72790adcde" xmlns:ns3="9025a7d9-338b-4dd2-a8f8-e45565f34fd1" xmlns:ns4="73aed677-f397-488c-99c0-0dd7bfbe2d66" targetNamespace="http://schemas.microsoft.com/office/2006/metadata/properties" ma:root="true" ma:fieldsID="1389b0876d70862a4e37e0dad751dd6a" ns2:_="" ns3:_="" ns4:_="">
    <xsd:import namespace="893fc400-24e0-4d6c-84b1-6c72790adcde"/>
    <xsd:import namespace="9025a7d9-338b-4dd2-a8f8-e45565f34fd1"/>
    <xsd:import namespace="73aed677-f397-488c-99c0-0dd7bfbe2d66"/>
    <xsd:element name="properties">
      <xsd:complexType>
        <xsd:sequence>
          <xsd:element name="documentManagement">
            <xsd:complexType>
              <xsd:all>
                <xsd:element ref="ns2:Project_x0020_owner" minOccurs="0"/>
                <xsd:element ref="ns2:Projekt" minOccurs="0"/>
                <xsd:element ref="ns2:Project" minOccurs="0"/>
                <xsd:element ref="ns2:SubCategory" minOccurs="0"/>
                <xsd:element ref="ns2:MediaServiceMetadata" minOccurs="0"/>
                <xsd:element ref="ns2:MediaServiceFastMetadata" minOccurs="0"/>
                <xsd:element ref="ns2:MediaServiceAutoTags" minOccurs="0"/>
                <xsd:element ref="ns3:_dlc_DocId" minOccurs="0"/>
                <xsd:element ref="ns3:_dlc_DocIdUrl" minOccurs="0"/>
                <xsd:element ref="ns3:_dlc_DocIdPersistId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4:SharedWithUsers" minOccurs="0"/>
                <xsd:element ref="ns4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93fc400-24e0-4d6c-84b1-6c72790adcde" elementFormDefault="qualified">
    <xsd:import namespace="http://schemas.microsoft.com/office/2006/documentManagement/types"/>
    <xsd:import namespace="http://schemas.microsoft.com/office/infopath/2007/PartnerControls"/>
    <xsd:element name="Project_x0020_owner" ma:index="2" nillable="true" ma:displayName="Project owner" ma:list="UserInfo" ma:SharePointGroup="0" ma:internalName="Project_x0020_owner" ma:readOnly="false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Projekt" ma:index="3" nillable="true" ma:displayName="Status" ma:format="Dropdown" ma:internalName="Projekt" ma:readOnly="false">
      <xsd:simpleType>
        <xsd:restriction base="dms:Choice">
          <xsd:enumeration value="Ongoing"/>
          <xsd:enumeration value="Open"/>
          <xsd:enumeration value="Closed"/>
        </xsd:restriction>
      </xsd:simpleType>
    </xsd:element>
    <xsd:element name="Project" ma:index="4" nillable="true" ma:displayName="Project" ma:format="RadioButtons" ma:internalName="Project" ma:readOnly="false">
      <xsd:simpleType>
        <xsd:union memberTypes="dms:Text">
          <xsd:simpleType>
            <xsd:restriction base="dms:Choice">
              <xsd:enumeration value="Acion Toolkit"/>
              <xsd:enumeration value="Amadeus"/>
              <xsd:enumeration value="AVFM"/>
              <xsd:enumeration value="Business Case instructions"/>
              <xsd:enumeration value="Campaings"/>
              <xsd:enumeration value="Concepts"/>
              <xsd:enumeration value="Ethnic concept"/>
              <xsd:enumeration value="Family concept"/>
              <xsd:enumeration value="Fare Audit"/>
              <xsd:enumeration value="Fees"/>
              <xsd:enumeration value="Follow Up"/>
              <xsd:enumeration value="FRAS"/>
              <xsd:enumeration value="Gift Vouchers"/>
              <xsd:enumeration value="Holding booking fee"/>
              <xsd:enumeration value="IATA"/>
              <xsd:enumeration value="Marknadskoncept"/>
              <xsd:enumeration value="McKinseykoncept"/>
              <xsd:enumeration value="Mid Seat Free"/>
              <xsd:enumeration value="NCC"/>
              <xsd:enumeration value="No Show"/>
              <xsd:enumeration value="OAL online"/>
              <xsd:enumeration value="Ombokning i check in"/>
              <xsd:enumeration value="Quick win feees"/>
              <xsd:enumeration value="Revenue Information"/>
              <xsd:enumeration value="RT concept"/>
              <xsd:enumeration value="SJ-SK"/>
              <xsd:enumeration value="Travel pass"/>
              <xsd:enumeration value="Utbildningsprogram"/>
              <xsd:enumeration value="VBR"/>
              <xsd:enumeration value="X"/>
              <xsd:enumeration value="YQ"/>
            </xsd:restriction>
          </xsd:simpleType>
        </xsd:union>
      </xsd:simpleType>
    </xsd:element>
    <xsd:element name="SubCategory" ma:index="5" nillable="true" ma:displayName="SubCategory" ma:internalName="SubCategory">
      <xsd:simpleType>
        <xsd:restriction base="dms:Text">
          <xsd:maxLength value="255"/>
        </xsd:restriction>
      </xsd:simpleType>
    </xsd:element>
    <xsd:element name="MediaServiceMetadata" ma:index="12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4" nillable="true" ma:displayName="MediaServiceAutoTags" ma:internalName="MediaServiceAutoTags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2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025a7d9-338b-4dd2-a8f8-e45565f34fd1" elementFormDefault="qualified">
    <xsd:import namespace="http://schemas.microsoft.com/office/2006/documentManagement/types"/>
    <xsd:import namespace="http://schemas.microsoft.com/office/infopath/2007/PartnerControls"/>
    <xsd:element name="_dlc_DocId" ma:index="15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6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7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3aed677-f397-488c-99c0-0dd7bfbe2d66" elementFormDefault="qualified">
    <xsd:import namespace="http://schemas.microsoft.com/office/2006/documentManagement/types"/>
    <xsd:import namespace="http://schemas.microsoft.com/office/infopath/2007/PartnerControls"/>
    <xsd:element name="SharedWithUsers" ma:index="2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8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20C321F-132E-4E39-867F-8EF71A0A2B28}">
  <ds:schemaRefs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73aed677-f397-488c-99c0-0dd7bfbe2d66"/>
    <ds:schemaRef ds:uri="http://schemas.microsoft.com/office/2006/metadata/properties"/>
    <ds:schemaRef ds:uri="http://purl.org/dc/terms/"/>
    <ds:schemaRef ds:uri="http://schemas.microsoft.com/office/infopath/2007/PartnerControls"/>
    <ds:schemaRef ds:uri="9025a7d9-338b-4dd2-a8f8-e45565f34fd1"/>
    <ds:schemaRef ds:uri="893fc400-24e0-4d6c-84b1-6c72790adcde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6A6113BC-1D62-4D9F-85CD-6E4D1DC07EA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8E038F8-9EF9-4DCE-8277-8EB5AA193744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D5FC9503-54AD-465A-98A7-144243C4D80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93fc400-24e0-4d6c-84b1-6c72790adcde"/>
    <ds:schemaRef ds:uri="9025a7d9-338b-4dd2-a8f8-e45565f34fd1"/>
    <ds:schemaRef ds:uri="73aed677-f397-488c-99c0-0dd7bfbe2d6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28</TotalTime>
  <Words>430</Words>
  <Application>Microsoft Office PowerPoint</Application>
  <PresentationFormat>Custom</PresentationFormat>
  <Paragraphs>82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4" baseType="lpstr">
      <vt:lpstr>Arial</vt:lpstr>
      <vt:lpstr>Arial Black</vt:lpstr>
      <vt:lpstr>Calibri</vt:lpstr>
      <vt:lpstr>Scandinavian New</vt:lpstr>
      <vt:lpstr>Scandinavian New Black</vt:lpstr>
      <vt:lpstr>Scandinavian New Book</vt:lpstr>
      <vt:lpstr>Times New Roman</vt:lpstr>
      <vt:lpstr>Wingdings</vt:lpstr>
      <vt:lpstr>SAS template</vt:lpstr>
      <vt:lpstr>SAS inverted</vt:lpstr>
      <vt:lpstr>think-cell Slide</vt:lpstr>
      <vt:lpstr>Active rules Updated: 2021-08-18</vt:lpstr>
      <vt:lpstr>Rebooking for cancelled &amp; non cancelled flight – Travel Agents</vt:lpstr>
      <vt:lpstr>Rebooking for cancelled &amp; non cancelled flight – Travel Agen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stpone rebooking</dc:title>
  <dc:creator>Söder, Josefine (STONK-P)</dc:creator>
  <cp:lastModifiedBy>Carla Moreira</cp:lastModifiedBy>
  <cp:revision>28</cp:revision>
  <dcterms:created xsi:type="dcterms:W3CDTF">2020-04-07T12:34:46Z</dcterms:created>
  <dcterms:modified xsi:type="dcterms:W3CDTF">2021-08-27T14:37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C5025A7373BD4429B8B8AFA6B70A3B0</vt:lpwstr>
  </property>
  <property fmtid="{D5CDD505-2E9C-101B-9397-08002B2CF9AE}" pid="3" name="_dlc_DocIdItemGuid">
    <vt:lpwstr>9fa0ad17-94b4-4adb-a46a-24b69f007243</vt:lpwstr>
  </property>
</Properties>
</file>